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7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9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0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1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2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3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4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5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16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17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695" r:id="rId6"/>
    <p:sldMasterId id="2147483714" r:id="rId7"/>
    <p:sldMasterId id="2147483725" r:id="rId8"/>
    <p:sldMasterId id="2147483759" r:id="rId9"/>
    <p:sldMasterId id="2147483794" r:id="rId10"/>
    <p:sldMasterId id="2147483822" r:id="rId11"/>
    <p:sldMasterId id="2147483844" r:id="rId12"/>
    <p:sldMasterId id="2147483873" r:id="rId13"/>
    <p:sldMasterId id="2147483885" r:id="rId14"/>
    <p:sldMasterId id="2147483897" r:id="rId15"/>
    <p:sldMasterId id="2147483916" r:id="rId16"/>
    <p:sldMasterId id="2147483936" r:id="rId17"/>
    <p:sldMasterId id="2147483961" r:id="rId18"/>
    <p:sldMasterId id="2147483992" r:id="rId19"/>
    <p:sldMasterId id="2147484022" r:id="rId20"/>
    <p:sldMasterId id="2147484041" r:id="rId21"/>
  </p:sldMasterIdLst>
  <p:notesMasterIdLst>
    <p:notesMasterId r:id="rId55"/>
  </p:notesMasterIdLst>
  <p:sldIdLst>
    <p:sldId id="1486" r:id="rId22"/>
    <p:sldId id="1374" r:id="rId23"/>
    <p:sldId id="259" r:id="rId24"/>
    <p:sldId id="4353" r:id="rId25"/>
    <p:sldId id="1885" r:id="rId26"/>
    <p:sldId id="4351" r:id="rId27"/>
    <p:sldId id="4342" r:id="rId28"/>
    <p:sldId id="4348" r:id="rId29"/>
    <p:sldId id="1652" r:id="rId30"/>
    <p:sldId id="4350" r:id="rId31"/>
    <p:sldId id="1873" r:id="rId32"/>
    <p:sldId id="274" r:id="rId33"/>
    <p:sldId id="4352" r:id="rId34"/>
    <p:sldId id="1877" r:id="rId35"/>
    <p:sldId id="272" r:id="rId36"/>
    <p:sldId id="1653" r:id="rId37"/>
    <p:sldId id="1890" r:id="rId38"/>
    <p:sldId id="310" r:id="rId39"/>
    <p:sldId id="311" r:id="rId40"/>
    <p:sldId id="4345" r:id="rId41"/>
    <p:sldId id="4344" r:id="rId42"/>
    <p:sldId id="303" r:id="rId43"/>
    <p:sldId id="305" r:id="rId44"/>
    <p:sldId id="4346" r:id="rId45"/>
    <p:sldId id="4347" r:id="rId46"/>
    <p:sldId id="4368" r:id="rId47"/>
    <p:sldId id="1881" r:id="rId48"/>
    <p:sldId id="300" r:id="rId49"/>
    <p:sldId id="1514" r:id="rId50"/>
    <p:sldId id="1509" r:id="rId51"/>
    <p:sldId id="4366" r:id="rId52"/>
    <p:sldId id="1760" r:id="rId53"/>
    <p:sldId id="1392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8D7"/>
    <a:srgbClr val="0086AC"/>
    <a:srgbClr val="E2F2FF"/>
    <a:srgbClr val="E7EC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2FD4F9-7BD8-447D-BD02-A7A3CEA7A9FD}" v="7" dt="2019-02-04T13:45:47.056"/>
    <p1510:client id="{0099DCF2-8917-41D8-B7A5-0AA2FD88CE08}" v="10" dt="2019-02-04T18:16:01.914"/>
  </p1510:revLst>
</p1510:revInfo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43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slide" Target="slides/slide29.xml"/><Relationship Id="rId55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slide" Target="slides/slide32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microsoft.com/office/2015/10/relationships/revisionInfo" Target="revisionInfo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0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59" Type="http://schemas.openxmlformats.org/officeDocument/2006/relationships/tableStyles" Target="tableStyle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20.xml"/><Relationship Id="rId54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slide" Target="slides/slide31.xml"/><Relationship Id="rId6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e Xu" userId="1c3db18e-3d97-4a25-8b24-9bcc92bb8523" providerId="ADAL" clId="{5868FDE3-681A-4F58-9DAF-002284DDA59F}"/>
    <pc:docChg chg="addSld delSld modSld">
      <pc:chgData name="Ye Xu" userId="1c3db18e-3d97-4a25-8b24-9bcc92bb8523" providerId="ADAL" clId="{5868FDE3-681A-4F58-9DAF-002284DDA59F}" dt="2019-01-22T07:41:13.980" v="3"/>
      <pc:docMkLst>
        <pc:docMk/>
      </pc:docMkLst>
      <pc:sldChg chg="addSp delSp">
        <pc:chgData name="Ye Xu" userId="1c3db18e-3d97-4a25-8b24-9bcc92bb8523" providerId="ADAL" clId="{5868FDE3-681A-4F58-9DAF-002284DDA59F}" dt="2019-01-22T07:41:13.980" v="3"/>
        <pc:sldMkLst>
          <pc:docMk/>
          <pc:sldMk cId="764790800" sldId="4351"/>
        </pc:sldMkLst>
        <pc:picChg chg="add del">
          <ac:chgData name="Ye Xu" userId="1c3db18e-3d97-4a25-8b24-9bcc92bb8523" providerId="ADAL" clId="{5868FDE3-681A-4F58-9DAF-002284DDA59F}" dt="2019-01-22T07:41:13.980" v="3"/>
          <ac:picMkLst>
            <pc:docMk/>
            <pc:sldMk cId="764790800" sldId="4351"/>
            <ac:picMk id="97" creationId="{97B89456-39A3-430E-B165-051858BB000F}"/>
          </ac:picMkLst>
        </pc:picChg>
      </pc:sldChg>
    </pc:docChg>
  </pc:docChgLst>
  <pc:docChgLst>
    <pc:chgData name="Abhishek Narain" userId="099d15cc-7222-491b-acce-1ee03997ed4a" providerId="ADAL" clId="{DAAF2F6C-B206-4216-8B07-ECC43A4EB523}"/>
  </pc:docChgLst>
  <pc:docChgLst>
    <pc:chgData name="Abhishek Narain" userId="099d15cc-7222-491b-acce-1ee03997ed4a" providerId="ADAL" clId="{A815BA32-F291-4FCD-A676-5586C2201886}"/>
  </pc:docChgLst>
  <pc:docChgLst>
    <pc:chgData name="Shirley Wang (IM)" userId="da4880b3-bd35-4b71-94a0-d7a6fca1a050" providerId="ADAL" clId="{0099DCF2-8917-41D8-B7A5-0AA2FD88CE08}"/>
    <pc:docChg chg="custSel addSld delSld modSld sldOrd">
      <pc:chgData name="Shirley Wang (IM)" userId="da4880b3-bd35-4b71-94a0-d7a6fca1a050" providerId="ADAL" clId="{0099DCF2-8917-41D8-B7A5-0AA2FD88CE08}" dt="2019-02-04T18:16:18.349" v="258" actId="108"/>
      <pc:docMkLst>
        <pc:docMk/>
      </pc:docMkLst>
      <pc:sldChg chg="modSp">
        <pc:chgData name="Shirley Wang (IM)" userId="da4880b3-bd35-4b71-94a0-d7a6fca1a050" providerId="ADAL" clId="{0099DCF2-8917-41D8-B7A5-0AA2FD88CE08}" dt="2019-02-04T15:45:53.772" v="74" actId="20577"/>
        <pc:sldMkLst>
          <pc:docMk/>
          <pc:sldMk cId="2656396372" sldId="259"/>
        </pc:sldMkLst>
        <pc:spChg chg="mod">
          <ac:chgData name="Shirley Wang (IM)" userId="da4880b3-bd35-4b71-94a0-d7a6fca1a050" providerId="ADAL" clId="{0099DCF2-8917-41D8-B7A5-0AA2FD88CE08}" dt="2019-02-04T15:44:43.417" v="28" actId="20577"/>
          <ac:spMkLst>
            <pc:docMk/>
            <pc:sldMk cId="2656396372" sldId="259"/>
            <ac:spMk id="2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5:45:53.772" v="74" actId="20577"/>
          <ac:spMkLst>
            <pc:docMk/>
            <pc:sldMk cId="2656396372" sldId="259"/>
            <ac:spMk id="3" creationId="{00000000-0000-0000-0000-000000000000}"/>
          </ac:spMkLst>
        </pc:spChg>
      </pc:sldChg>
      <pc:sldChg chg="modSp">
        <pc:chgData name="Shirley Wang (IM)" userId="da4880b3-bd35-4b71-94a0-d7a6fca1a050" providerId="ADAL" clId="{0099DCF2-8917-41D8-B7A5-0AA2FD88CE08}" dt="2019-02-04T16:11:22.181" v="199" actId="1035"/>
        <pc:sldMkLst>
          <pc:docMk/>
          <pc:sldMk cId="590175795" sldId="272"/>
        </pc:sldMkLst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25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26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27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30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11:22.181" v="199" actId="1035"/>
          <ac:spMkLst>
            <pc:docMk/>
            <pc:sldMk cId="590175795" sldId="272"/>
            <ac:spMk id="34" creationId="{B5785EB7-2855-41D8-8FCC-C4859C983245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79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2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3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6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8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89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0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1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3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4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6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7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98" creationId="{00000000-0000-0000-0000-000000000000}"/>
          </ac:spMkLst>
        </pc:spChg>
        <pc:spChg chg="mod">
          <ac:chgData name="Shirley Wang (IM)" userId="da4880b3-bd35-4b71-94a0-d7a6fca1a050" providerId="ADAL" clId="{0099DCF2-8917-41D8-B7A5-0AA2FD88CE08}" dt="2019-02-04T16:08:57.266" v="97" actId="1036"/>
          <ac:spMkLst>
            <pc:docMk/>
            <pc:sldMk cId="590175795" sldId="272"/>
            <ac:spMk id="100" creationId="{00000000-0000-0000-0000-000000000000}"/>
          </ac:spMkLst>
        </pc:sp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37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38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81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84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85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87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92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95" creationId="{00000000-0000-0000-0000-000000000000}"/>
          </ac:cxnSpMkLst>
        </pc:cxnChg>
        <pc:cxnChg chg="mod">
          <ac:chgData name="Shirley Wang (IM)" userId="da4880b3-bd35-4b71-94a0-d7a6fca1a050" providerId="ADAL" clId="{0099DCF2-8917-41D8-B7A5-0AA2FD88CE08}" dt="2019-02-04T16:08:57.266" v="97" actId="1036"/>
          <ac:cxnSpMkLst>
            <pc:docMk/>
            <pc:sldMk cId="590175795" sldId="272"/>
            <ac:cxnSpMk id="99" creationId="{00000000-0000-0000-0000-000000000000}"/>
          </ac:cxnSpMkLst>
        </pc:cxnChg>
      </pc:sldChg>
      <pc:sldChg chg="del">
        <pc:chgData name="Shirley Wang (IM)" userId="da4880b3-bd35-4b71-94a0-d7a6fca1a050" providerId="ADAL" clId="{0099DCF2-8917-41D8-B7A5-0AA2FD88CE08}" dt="2019-02-04T18:13:45.682" v="200" actId="2696"/>
        <pc:sldMkLst>
          <pc:docMk/>
          <pc:sldMk cId="733279627" sldId="277"/>
        </pc:sldMkLst>
      </pc:sldChg>
      <pc:sldChg chg="del">
        <pc:chgData name="Shirley Wang (IM)" userId="da4880b3-bd35-4b71-94a0-d7a6fca1a050" providerId="ADAL" clId="{0099DCF2-8917-41D8-B7A5-0AA2FD88CE08}" dt="2019-02-04T18:13:45.734" v="201" actId="2696"/>
        <pc:sldMkLst>
          <pc:docMk/>
          <pc:sldMk cId="3761947802" sldId="288"/>
        </pc:sldMkLst>
      </pc:sldChg>
      <pc:sldChg chg="modSp">
        <pc:chgData name="Shirley Wang (IM)" userId="da4880b3-bd35-4b71-94a0-d7a6fca1a050" providerId="ADAL" clId="{0099DCF2-8917-41D8-B7A5-0AA2FD88CE08}" dt="2019-02-04T18:15:55.289" v="255" actId="313"/>
        <pc:sldMkLst>
          <pc:docMk/>
          <pc:sldMk cId="1762249117" sldId="1509"/>
        </pc:sldMkLst>
        <pc:spChg chg="mod">
          <ac:chgData name="Shirley Wang (IM)" userId="da4880b3-bd35-4b71-94a0-d7a6fca1a050" providerId="ADAL" clId="{0099DCF2-8917-41D8-B7A5-0AA2FD88CE08}" dt="2019-02-04T18:15:55.289" v="255" actId="313"/>
          <ac:spMkLst>
            <pc:docMk/>
            <pc:sldMk cId="1762249117" sldId="1509"/>
            <ac:spMk id="4" creationId="{00000000-0000-0000-0000-000000000000}"/>
          </ac:spMkLst>
        </pc:spChg>
      </pc:sldChg>
      <pc:sldChg chg="modSp add">
        <pc:chgData name="Shirley Wang (IM)" userId="da4880b3-bd35-4b71-94a0-d7a6fca1a050" providerId="ADAL" clId="{0099DCF2-8917-41D8-B7A5-0AA2FD88CE08}" dt="2019-02-04T18:16:18.349" v="258" actId="108"/>
        <pc:sldMkLst>
          <pc:docMk/>
          <pc:sldMk cId="1922458321" sldId="1760"/>
        </pc:sldMkLst>
        <pc:spChg chg="mod">
          <ac:chgData name="Shirley Wang (IM)" userId="da4880b3-bd35-4b71-94a0-d7a6fca1a050" providerId="ADAL" clId="{0099DCF2-8917-41D8-B7A5-0AA2FD88CE08}" dt="2019-02-04T18:16:18.349" v="258" actId="108"/>
          <ac:spMkLst>
            <pc:docMk/>
            <pc:sldMk cId="1922458321" sldId="1760"/>
            <ac:spMk id="2" creationId="{81278D23-9E2D-4241-A471-B379AFFBA5B1}"/>
          </ac:spMkLst>
        </pc:spChg>
      </pc:sldChg>
      <pc:sldChg chg="modSp add">
        <pc:chgData name="Shirley Wang (IM)" userId="da4880b3-bd35-4b71-94a0-d7a6fca1a050" providerId="ADAL" clId="{0099DCF2-8917-41D8-B7A5-0AA2FD88CE08}" dt="2019-02-04T18:14:11.690" v="204" actId="108"/>
        <pc:sldMkLst>
          <pc:docMk/>
          <pc:sldMk cId="866132113" sldId="1881"/>
        </pc:sldMkLst>
        <pc:spChg chg="mod">
          <ac:chgData name="Shirley Wang (IM)" userId="da4880b3-bd35-4b71-94a0-d7a6fca1a050" providerId="ADAL" clId="{0099DCF2-8917-41D8-B7A5-0AA2FD88CE08}" dt="2019-02-04T18:14:11.690" v="204" actId="108"/>
          <ac:spMkLst>
            <pc:docMk/>
            <pc:sldMk cId="866132113" sldId="1881"/>
            <ac:spMk id="48" creationId="{B741FB1B-6E81-4256-94A6-C8FA5E0DCAE0}"/>
          </ac:spMkLst>
        </pc:spChg>
      </pc:sldChg>
      <pc:sldChg chg="ord">
        <pc:chgData name="Shirley Wang (IM)" userId="da4880b3-bd35-4b71-94a0-d7a6fca1a050" providerId="ADAL" clId="{0099DCF2-8917-41D8-B7A5-0AA2FD88CE08}" dt="2019-02-04T16:04:01.735" v="76"/>
        <pc:sldMkLst>
          <pc:docMk/>
          <pc:sldMk cId="1815617866" sldId="4342"/>
        </pc:sldMkLst>
      </pc:sldChg>
      <pc:sldChg chg="del">
        <pc:chgData name="Shirley Wang (IM)" userId="da4880b3-bd35-4b71-94a0-d7a6fca1a050" providerId="ADAL" clId="{0099DCF2-8917-41D8-B7A5-0AA2FD88CE08}" dt="2019-02-04T15:56:48.333" v="75" actId="2696"/>
        <pc:sldMkLst>
          <pc:docMk/>
          <pc:sldMk cId="3364984362" sldId="4343"/>
        </pc:sldMkLst>
      </pc:sldChg>
      <pc:sldChg chg="add del ord">
        <pc:chgData name="Shirley Wang (IM)" userId="da4880b3-bd35-4b71-94a0-d7a6fca1a050" providerId="ADAL" clId="{0099DCF2-8917-41D8-B7A5-0AA2FD88CE08}" dt="2019-02-04T15:44:27.430" v="2" actId="2696"/>
        <pc:sldMkLst>
          <pc:docMk/>
          <pc:sldMk cId="3343076988" sldId="4353"/>
        </pc:sldMkLst>
      </pc:sldChg>
      <pc:sldChg chg="add">
        <pc:chgData name="Shirley Wang (IM)" userId="da4880b3-bd35-4b71-94a0-d7a6fca1a050" providerId="ADAL" clId="{0099DCF2-8917-41D8-B7A5-0AA2FD88CE08}" dt="2019-02-04T15:44:32.588" v="3"/>
        <pc:sldMkLst>
          <pc:docMk/>
          <pc:sldMk cId="4120213947" sldId="4353"/>
        </pc:sldMkLst>
      </pc:sldChg>
      <pc:sldChg chg="modSp add">
        <pc:chgData name="Shirley Wang (IM)" userId="da4880b3-bd35-4b71-94a0-d7a6fca1a050" providerId="ADAL" clId="{0099DCF2-8917-41D8-B7A5-0AA2FD88CE08}" dt="2019-02-04T18:16:13.934" v="257" actId="108"/>
        <pc:sldMkLst>
          <pc:docMk/>
          <pc:sldMk cId="1811837224" sldId="4366"/>
        </pc:sldMkLst>
        <pc:spChg chg="mod">
          <ac:chgData name="Shirley Wang (IM)" userId="da4880b3-bd35-4b71-94a0-d7a6fca1a050" providerId="ADAL" clId="{0099DCF2-8917-41D8-B7A5-0AA2FD88CE08}" dt="2019-02-04T18:16:13.934" v="257" actId="108"/>
          <ac:spMkLst>
            <pc:docMk/>
            <pc:sldMk cId="1811837224" sldId="4366"/>
            <ac:spMk id="113" creationId="{84835B3A-DD8E-43CC-93E1-30DC89865412}"/>
          </ac:spMkLst>
        </pc:spChg>
      </pc:sldChg>
      <pc:sldChg chg="addSp delSp modSp add">
        <pc:chgData name="Shirley Wang (IM)" userId="da4880b3-bd35-4b71-94a0-d7a6fca1a050" providerId="ADAL" clId="{0099DCF2-8917-41D8-B7A5-0AA2FD88CE08}" dt="2019-02-04T18:14:50.498" v="225" actId="20577"/>
        <pc:sldMkLst>
          <pc:docMk/>
          <pc:sldMk cId="1051389137" sldId="4368"/>
        </pc:sldMkLst>
        <pc:spChg chg="del mod">
          <ac:chgData name="Shirley Wang (IM)" userId="da4880b3-bd35-4b71-94a0-d7a6fca1a050" providerId="ADAL" clId="{0099DCF2-8917-41D8-B7A5-0AA2FD88CE08}" dt="2019-02-04T18:14:41.836" v="205" actId="478"/>
          <ac:spMkLst>
            <pc:docMk/>
            <pc:sldMk cId="1051389137" sldId="4368"/>
            <ac:spMk id="2" creationId="{4D66B578-E57F-499D-9A85-F47D62D72FFA}"/>
          </ac:spMkLst>
        </pc:spChg>
        <pc:spChg chg="add del mod">
          <ac:chgData name="Shirley Wang (IM)" userId="da4880b3-bd35-4b71-94a0-d7a6fca1a050" providerId="ADAL" clId="{0099DCF2-8917-41D8-B7A5-0AA2FD88CE08}" dt="2019-02-04T18:14:44.507" v="206" actId="478"/>
          <ac:spMkLst>
            <pc:docMk/>
            <pc:sldMk cId="1051389137" sldId="4368"/>
            <ac:spMk id="4" creationId="{276C43E7-6A97-47C2-A201-CFE915FDCD16}"/>
          </ac:spMkLst>
        </pc:spChg>
        <pc:spChg chg="add mod">
          <ac:chgData name="Shirley Wang (IM)" userId="da4880b3-bd35-4b71-94a0-d7a6fca1a050" providerId="ADAL" clId="{0099DCF2-8917-41D8-B7A5-0AA2FD88CE08}" dt="2019-02-04T18:14:50.498" v="225" actId="20577"/>
          <ac:spMkLst>
            <pc:docMk/>
            <pc:sldMk cId="1051389137" sldId="4368"/>
            <ac:spMk id="14" creationId="{8E4FB164-35E9-4ECB-B60A-53E118E2B496}"/>
          </ac:spMkLst>
        </pc:spChg>
      </pc:sldChg>
    </pc:docChg>
  </pc:docChgLst>
  <pc:docChgLst>
    <pc:chgData name="Abhishek Narain" userId="099d15cc-7222-491b-acce-1ee03997ed4a" providerId="ADAL" clId="{221A5752-520A-4C5E-8900-17734B213E88}"/>
    <pc:docChg chg="modSld">
      <pc:chgData name="Abhishek Narain" userId="099d15cc-7222-491b-acce-1ee03997ed4a" providerId="ADAL" clId="{221A5752-520A-4C5E-8900-17734B213E88}" dt="2019-01-30T16:16:27.972" v="1" actId="20577"/>
      <pc:docMkLst>
        <pc:docMk/>
      </pc:docMkLst>
      <pc:sldChg chg="modSp">
        <pc:chgData name="Abhishek Narain" userId="099d15cc-7222-491b-acce-1ee03997ed4a" providerId="ADAL" clId="{221A5752-520A-4C5E-8900-17734B213E88}" dt="2019-01-30T16:16:27.972" v="1" actId="20577"/>
        <pc:sldMkLst>
          <pc:docMk/>
          <pc:sldMk cId="2777298460" sldId="1374"/>
        </pc:sldMkLst>
        <pc:spChg chg="mod">
          <ac:chgData name="Abhishek Narain" userId="099d15cc-7222-491b-acce-1ee03997ed4a" providerId="ADAL" clId="{221A5752-520A-4C5E-8900-17734B213E88}" dt="2019-01-30T16:16:27.972" v="1" actId="20577"/>
          <ac:spMkLst>
            <pc:docMk/>
            <pc:sldMk cId="2777298460" sldId="1374"/>
            <ac:spMk id="5" creationId="{00000000-0000-0000-0000-000000000000}"/>
          </ac:spMkLst>
        </pc:spChg>
      </pc:sldChg>
    </pc:docChg>
  </pc:docChgLst>
  <pc:docChgLst>
    <pc:chgData name="Shirley Wang (IM)" userId="da4880b3-bd35-4b71-94a0-d7a6fca1a050" providerId="ADAL" clId="{4E2FD4F9-7BD8-447D-BD02-A7A3CEA7A9FD}"/>
    <pc:docChg chg="undo custSel addSld delSld modSld">
      <pc:chgData name="Shirley Wang (IM)" userId="da4880b3-bd35-4b71-94a0-d7a6fca1a050" providerId="ADAL" clId="{4E2FD4F9-7BD8-447D-BD02-A7A3CEA7A9FD}" dt="2019-02-04T14:17:31.240" v="151" actId="14100"/>
      <pc:docMkLst>
        <pc:docMk/>
      </pc:docMkLst>
      <pc:sldChg chg="modSp">
        <pc:chgData name="Shirley Wang (IM)" userId="da4880b3-bd35-4b71-94a0-d7a6fca1a050" providerId="ADAL" clId="{4E2FD4F9-7BD8-447D-BD02-A7A3CEA7A9FD}" dt="2019-02-04T13:45:15.652" v="89" actId="12789"/>
        <pc:sldMkLst>
          <pc:docMk/>
          <pc:sldMk cId="3471618729" sldId="1885"/>
        </pc:sldMkLst>
        <pc:spChg chg="mod">
          <ac:chgData name="Shirley Wang (IM)" userId="da4880b3-bd35-4b71-94a0-d7a6fca1a050" providerId="ADAL" clId="{4E2FD4F9-7BD8-447D-BD02-A7A3CEA7A9FD}" dt="2019-02-04T13:43:23.201" v="25" actId="14100"/>
          <ac:spMkLst>
            <pc:docMk/>
            <pc:sldMk cId="3471618729" sldId="1885"/>
            <ac:spMk id="170" creationId="{91785FF7-4C9D-4F76-BA08-59E5249D4295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65" creationId="{5DB140A0-9E6A-442E-85A3-EAD45F17C91A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66" creationId="{32329837-BBF4-4121-B786-D896A0A66A20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67" creationId="{BA11A9EF-93FF-47D4-BB2D-C2F1C49050C4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68" creationId="{A7F82475-21A5-470C-98C2-141C176396E3}"/>
          </ac:spMkLst>
        </pc:spChg>
        <pc:spChg chg="mod">
          <ac:chgData name="Shirley Wang (IM)" userId="da4880b3-bd35-4b71-94a0-d7a6fca1a050" providerId="ADAL" clId="{4E2FD4F9-7BD8-447D-BD02-A7A3CEA7A9FD}" dt="2019-02-04T13:45:15.652" v="89" actId="12789"/>
          <ac:spMkLst>
            <pc:docMk/>
            <pc:sldMk cId="3471618729" sldId="1885"/>
            <ac:spMk id="270" creationId="{BB50F891-5682-453C-9AB1-790914252364}"/>
          </ac:spMkLst>
        </pc:spChg>
        <pc:grpChg chg="mod">
          <ac:chgData name="Shirley Wang (IM)" userId="da4880b3-bd35-4b71-94a0-d7a6fca1a050" providerId="ADAL" clId="{4E2FD4F9-7BD8-447D-BD02-A7A3CEA7A9FD}" dt="2019-02-04T13:45:05.478" v="88" actId="12789"/>
          <ac:grpSpMkLst>
            <pc:docMk/>
            <pc:sldMk cId="3471618729" sldId="1885"/>
            <ac:grpSpMk id="217" creationId="{ACFD76B3-52C3-4957-8C9A-9BEAD33F2D21}"/>
          </ac:grpSpMkLst>
        </pc:grpChg>
        <pc:grpChg chg="mod">
          <ac:chgData name="Shirley Wang (IM)" userId="da4880b3-bd35-4b71-94a0-d7a6fca1a050" providerId="ADAL" clId="{4E2FD4F9-7BD8-447D-BD02-A7A3CEA7A9FD}" dt="2019-02-04T13:45:05.478" v="88" actId="12789"/>
          <ac:grpSpMkLst>
            <pc:docMk/>
            <pc:sldMk cId="3471618729" sldId="1885"/>
            <ac:grpSpMk id="220" creationId="{6BF05F4B-9F37-4930-A1BB-00AFDB4176D4}"/>
          </ac:grpSpMkLst>
        </pc:grpChg>
        <pc:grpChg chg="mod">
          <ac:chgData name="Shirley Wang (IM)" userId="da4880b3-bd35-4b71-94a0-d7a6fca1a050" providerId="ADAL" clId="{4E2FD4F9-7BD8-447D-BD02-A7A3CEA7A9FD}" dt="2019-02-04T13:45:05.478" v="88" actId="12789"/>
          <ac:grpSpMkLst>
            <pc:docMk/>
            <pc:sldMk cId="3471618729" sldId="1885"/>
            <ac:grpSpMk id="235" creationId="{2C711776-E149-4F75-AFD3-59EB67F65E1E}"/>
          </ac:grpSpMkLst>
        </pc:grpChg>
        <pc:grpChg chg="mod">
          <ac:chgData name="Shirley Wang (IM)" userId="da4880b3-bd35-4b71-94a0-d7a6fca1a050" providerId="ADAL" clId="{4E2FD4F9-7BD8-447D-BD02-A7A3CEA7A9FD}" dt="2019-02-04T13:45:05.478" v="88" actId="12789"/>
          <ac:grpSpMkLst>
            <pc:docMk/>
            <pc:sldMk cId="3471618729" sldId="1885"/>
            <ac:grpSpMk id="261" creationId="{71FC833C-9CE0-4003-B47E-0058F8949D01}"/>
          </ac:grpSpMkLst>
        </pc:grpChg>
        <pc:cxnChg chg="mod">
          <ac:chgData name="Shirley Wang (IM)" userId="da4880b3-bd35-4b71-94a0-d7a6fca1a050" providerId="ADAL" clId="{4E2FD4F9-7BD8-447D-BD02-A7A3CEA7A9FD}" dt="2019-02-04T13:43:23.201" v="25" actId="14100"/>
          <ac:cxnSpMkLst>
            <pc:docMk/>
            <pc:sldMk cId="3471618729" sldId="1885"/>
            <ac:cxnSpMk id="241" creationId="{DE4C24EB-DCCD-46F8-8A4C-B194A923741D}"/>
          </ac:cxnSpMkLst>
        </pc:cxnChg>
      </pc:sldChg>
      <pc:sldChg chg="delSp modSp">
        <pc:chgData name="Shirley Wang (IM)" userId="da4880b3-bd35-4b71-94a0-d7a6fca1a050" providerId="ADAL" clId="{4E2FD4F9-7BD8-447D-BD02-A7A3CEA7A9FD}" dt="2019-02-04T14:17:31.240" v="151" actId="14100"/>
        <pc:sldMkLst>
          <pc:docMk/>
          <pc:sldMk cId="764790800" sldId="4351"/>
        </pc:sldMkLst>
        <pc:spChg chg="mod">
          <ac:chgData name="Shirley Wang (IM)" userId="da4880b3-bd35-4b71-94a0-d7a6fca1a050" providerId="ADAL" clId="{4E2FD4F9-7BD8-447D-BD02-A7A3CEA7A9FD}" dt="2019-02-04T13:46:38.714" v="136" actId="1038"/>
          <ac:spMkLst>
            <pc:docMk/>
            <pc:sldMk cId="764790800" sldId="4351"/>
            <ac:spMk id="10" creationId="{1DCE89DA-0FB9-4094-AC69-A37A7F5B3240}"/>
          </ac:spMkLst>
        </pc:spChg>
        <pc:spChg chg="mod">
          <ac:chgData name="Shirley Wang (IM)" userId="da4880b3-bd35-4b71-94a0-d7a6fca1a050" providerId="ADAL" clId="{4E2FD4F9-7BD8-447D-BD02-A7A3CEA7A9FD}" dt="2019-02-04T13:45:52.296" v="101" actId="1036"/>
          <ac:spMkLst>
            <pc:docMk/>
            <pc:sldMk cId="764790800" sldId="4351"/>
            <ac:spMk id="12" creationId="{F6FE07D9-C13C-4DE2-8538-EF180B5821AF}"/>
          </ac:spMkLst>
        </pc:spChg>
        <pc:spChg chg="mod">
          <ac:chgData name="Shirley Wang (IM)" userId="da4880b3-bd35-4b71-94a0-d7a6fca1a050" providerId="ADAL" clId="{4E2FD4F9-7BD8-447D-BD02-A7A3CEA7A9FD}" dt="2019-02-04T13:45:52.296" v="101" actId="1036"/>
          <ac:spMkLst>
            <pc:docMk/>
            <pc:sldMk cId="764790800" sldId="4351"/>
            <ac:spMk id="14" creationId="{A4D9C763-FE96-4705-BBA1-754982D1464A}"/>
          </ac:spMkLst>
        </pc:spChg>
        <pc:spChg chg="mod">
          <ac:chgData name="Shirley Wang (IM)" userId="da4880b3-bd35-4b71-94a0-d7a6fca1a050" providerId="ADAL" clId="{4E2FD4F9-7BD8-447D-BD02-A7A3CEA7A9FD}" dt="2019-02-04T13:45:28.340" v="90" actId="12789"/>
          <ac:spMkLst>
            <pc:docMk/>
            <pc:sldMk cId="764790800" sldId="4351"/>
            <ac:spMk id="84" creationId="{FFC45EA7-11FE-454D-BB8B-376CDA1CE5FB}"/>
          </ac:spMkLst>
        </pc:spChg>
        <pc:spChg chg="mod">
          <ac:chgData name="Shirley Wang (IM)" userId="da4880b3-bd35-4b71-94a0-d7a6fca1a050" providerId="ADAL" clId="{4E2FD4F9-7BD8-447D-BD02-A7A3CEA7A9FD}" dt="2019-02-04T13:45:28.340" v="90" actId="12789"/>
          <ac:spMkLst>
            <pc:docMk/>
            <pc:sldMk cId="764790800" sldId="4351"/>
            <ac:spMk id="85" creationId="{04404849-2604-463D-8192-3E4BD6AEE1DF}"/>
          </ac:spMkLst>
        </pc:spChg>
        <pc:spChg chg="mod">
          <ac:chgData name="Shirley Wang (IM)" userId="da4880b3-bd35-4b71-94a0-d7a6fca1a050" providerId="ADAL" clId="{4E2FD4F9-7BD8-447D-BD02-A7A3CEA7A9FD}" dt="2019-02-04T13:46:45.405" v="148" actId="1037"/>
          <ac:spMkLst>
            <pc:docMk/>
            <pc:sldMk cId="764790800" sldId="4351"/>
            <ac:spMk id="86" creationId="{FD68BDF6-CA54-4CAA-829E-B0A404874D92}"/>
          </ac:spMkLst>
        </pc:spChg>
        <pc:spChg chg="mod">
          <ac:chgData name="Shirley Wang (IM)" userId="da4880b3-bd35-4b71-94a0-d7a6fca1a050" providerId="ADAL" clId="{4E2FD4F9-7BD8-447D-BD02-A7A3CEA7A9FD}" dt="2019-02-04T13:45:28.340" v="90" actId="12789"/>
          <ac:spMkLst>
            <pc:docMk/>
            <pc:sldMk cId="764790800" sldId="4351"/>
            <ac:spMk id="87" creationId="{2E11F27E-562A-4641-8F70-0AFF53915489}"/>
          </ac:spMkLst>
        </pc:spChg>
        <pc:spChg chg="mod">
          <ac:chgData name="Shirley Wang (IM)" userId="da4880b3-bd35-4b71-94a0-d7a6fca1a050" providerId="ADAL" clId="{4E2FD4F9-7BD8-447D-BD02-A7A3CEA7A9FD}" dt="2019-02-04T13:45:28.340" v="90" actId="12789"/>
          <ac:spMkLst>
            <pc:docMk/>
            <pc:sldMk cId="764790800" sldId="4351"/>
            <ac:spMk id="89" creationId="{97732004-1A4C-4443-8298-8E71973144A3}"/>
          </ac:spMkLst>
        </pc:spChg>
        <pc:grpChg chg="mod">
          <ac:chgData name="Shirley Wang (IM)" userId="da4880b3-bd35-4b71-94a0-d7a6fca1a050" providerId="ADAL" clId="{4E2FD4F9-7BD8-447D-BD02-A7A3CEA7A9FD}" dt="2019-02-04T13:46:38.714" v="136" actId="1038"/>
          <ac:grpSpMkLst>
            <pc:docMk/>
            <pc:sldMk cId="764790800" sldId="4351"/>
            <ac:grpSpMk id="45" creationId="{652EE3C2-464C-4F61-977A-EC4E06D2032C}"/>
          </ac:grpSpMkLst>
        </pc:grpChg>
        <pc:grpChg chg="mod">
          <ac:chgData name="Shirley Wang (IM)" userId="da4880b3-bd35-4b71-94a0-d7a6fca1a050" providerId="ADAL" clId="{4E2FD4F9-7BD8-447D-BD02-A7A3CEA7A9FD}" dt="2019-02-04T13:45:36.537" v="91" actId="12789"/>
          <ac:grpSpMkLst>
            <pc:docMk/>
            <pc:sldMk cId="764790800" sldId="4351"/>
            <ac:grpSpMk id="48" creationId="{F96A4236-44A0-4C1B-8760-BCC4060F9EE9}"/>
          </ac:grpSpMkLst>
        </pc:grpChg>
        <pc:grpChg chg="mod">
          <ac:chgData name="Shirley Wang (IM)" userId="da4880b3-bd35-4b71-94a0-d7a6fca1a050" providerId="ADAL" clId="{4E2FD4F9-7BD8-447D-BD02-A7A3CEA7A9FD}" dt="2019-02-04T13:45:36.537" v="91" actId="12789"/>
          <ac:grpSpMkLst>
            <pc:docMk/>
            <pc:sldMk cId="764790800" sldId="4351"/>
            <ac:grpSpMk id="54" creationId="{EE10FCD9-CF09-409D-9494-7D6E20EBC8EE}"/>
          </ac:grpSpMkLst>
        </pc:grpChg>
        <pc:grpChg chg="mod">
          <ac:chgData name="Shirley Wang (IM)" userId="da4880b3-bd35-4b71-94a0-d7a6fca1a050" providerId="ADAL" clId="{4E2FD4F9-7BD8-447D-BD02-A7A3CEA7A9FD}" dt="2019-02-04T13:45:36.537" v="91" actId="12789"/>
          <ac:grpSpMkLst>
            <pc:docMk/>
            <pc:sldMk cId="764790800" sldId="4351"/>
            <ac:grpSpMk id="80" creationId="{1D6A1725-95CF-4A8E-A877-93FC73849533}"/>
          </ac:grpSpMkLst>
        </pc:grpChg>
        <pc:picChg chg="del">
          <ac:chgData name="Shirley Wang (IM)" userId="da4880b3-bd35-4b71-94a0-d7a6fca1a050" providerId="ADAL" clId="{4E2FD4F9-7BD8-447D-BD02-A7A3CEA7A9FD}" dt="2019-02-04T13:44:08.843" v="36" actId="478"/>
          <ac:picMkLst>
            <pc:docMk/>
            <pc:sldMk cId="764790800" sldId="4351"/>
            <ac:picMk id="97" creationId="{97B89456-39A3-430E-B165-051858BB000F}"/>
          </ac:picMkLst>
        </pc:picChg>
        <pc:cxnChg chg="mod">
          <ac:chgData name="Shirley Wang (IM)" userId="da4880b3-bd35-4b71-94a0-d7a6fca1a050" providerId="ADAL" clId="{4E2FD4F9-7BD8-447D-BD02-A7A3CEA7A9FD}" dt="2019-02-04T13:46:55.390" v="150" actId="14100"/>
          <ac:cxnSpMkLst>
            <pc:docMk/>
            <pc:sldMk cId="764790800" sldId="4351"/>
            <ac:cxnSpMk id="8" creationId="{424C9B85-10B5-4EAF-8EAB-5F4CEB20D66E}"/>
          </ac:cxnSpMkLst>
        </pc:cxnChg>
        <pc:cxnChg chg="mod">
          <ac:chgData name="Shirley Wang (IM)" userId="da4880b3-bd35-4b71-94a0-d7a6fca1a050" providerId="ADAL" clId="{4E2FD4F9-7BD8-447D-BD02-A7A3CEA7A9FD}" dt="2019-02-04T14:17:31.240" v="151" actId="14100"/>
          <ac:cxnSpMkLst>
            <pc:docMk/>
            <pc:sldMk cId="764790800" sldId="4351"/>
            <ac:cxnSpMk id="60" creationId="{289C201B-BDD0-47C1-A002-032C88B051C8}"/>
          </ac:cxnSpMkLst>
        </pc:cxnChg>
        <pc:cxnChg chg="mod">
          <ac:chgData name="Shirley Wang (IM)" userId="da4880b3-bd35-4b71-94a0-d7a6fca1a050" providerId="ADAL" clId="{4E2FD4F9-7BD8-447D-BD02-A7A3CEA7A9FD}" dt="2019-02-04T13:46:50.333" v="149" actId="14100"/>
          <ac:cxnSpMkLst>
            <pc:docMk/>
            <pc:sldMk cId="764790800" sldId="4351"/>
            <ac:cxnSpMk id="62" creationId="{AFFB9E69-706A-487E-8726-27C8E5CCB939}"/>
          </ac:cxnSpMkLst>
        </pc:cxnChg>
        <pc:cxnChg chg="mod">
          <ac:chgData name="Shirley Wang (IM)" userId="da4880b3-bd35-4b71-94a0-d7a6fca1a050" providerId="ADAL" clId="{4E2FD4F9-7BD8-447D-BD02-A7A3CEA7A9FD}" dt="2019-02-04T13:45:52.296" v="101" actId="1036"/>
          <ac:cxnSpMkLst>
            <pc:docMk/>
            <pc:sldMk cId="764790800" sldId="4351"/>
            <ac:cxnSpMk id="88" creationId="{811BF68E-FF3D-4C95-998C-25D2EADFC370}"/>
          </ac:cxnSpMkLst>
        </pc:cxnChg>
      </pc:sldChg>
      <pc:sldChg chg="add modTransition">
        <pc:chgData name="Shirley Wang (IM)" userId="da4880b3-bd35-4b71-94a0-d7a6fca1a050" providerId="ADAL" clId="{4E2FD4F9-7BD8-447D-BD02-A7A3CEA7A9FD}" dt="2019-01-29T13:20:03.846" v="0"/>
        <pc:sldMkLst>
          <pc:docMk/>
          <pc:sldMk cId="1866951642" sldId="4352"/>
        </pc:sldMkLst>
      </pc:sldChg>
    </pc:docChg>
  </pc:docChgLst>
  <pc:docChgLst>
    <pc:chgData name="Shirley Wang (IM)" userId="da4880b3-bd35-4b71-94a0-d7a6fca1a050" providerId="ADAL" clId="{52576289-1F62-427F-B1D6-E2061BDF85A7}"/>
    <pc:docChg chg="undo custSel addSld delSld modSld sldOrd delMainMaster">
      <pc:chgData name="Shirley Wang (IM)" userId="da4880b3-bd35-4b71-94a0-d7a6fca1a050" providerId="ADAL" clId="{52576289-1F62-427F-B1D6-E2061BDF85A7}" dt="2018-12-03T09:45:06.069" v="2342" actId="14100"/>
      <pc:docMkLst>
        <pc:docMk/>
      </pc:docMkLst>
      <pc:sldChg chg="modSp">
        <pc:chgData name="Shirley Wang (IM)" userId="da4880b3-bd35-4b71-94a0-d7a6fca1a050" providerId="ADAL" clId="{52576289-1F62-427F-B1D6-E2061BDF85A7}" dt="2018-12-02T11:20:39.704" v="1962" actId="20577"/>
        <pc:sldMkLst>
          <pc:docMk/>
          <pc:sldMk cId="2656396372" sldId="259"/>
        </pc:sldMkLst>
        <pc:spChg chg="mod">
          <ac:chgData name="Shirley Wang (IM)" userId="da4880b3-bd35-4b71-94a0-d7a6fca1a050" providerId="ADAL" clId="{52576289-1F62-427F-B1D6-E2061BDF85A7}" dt="2018-12-02T11:20:39.704" v="1962" actId="20577"/>
          <ac:spMkLst>
            <pc:docMk/>
            <pc:sldMk cId="2656396372" sldId="259"/>
            <ac:spMk id="3" creationId="{00000000-0000-0000-0000-000000000000}"/>
          </ac:spMkLst>
        </pc:spChg>
      </pc:sldChg>
      <pc:sldChg chg="modSp ord">
        <pc:chgData name="Shirley Wang (IM)" userId="da4880b3-bd35-4b71-94a0-d7a6fca1a050" providerId="ADAL" clId="{52576289-1F62-427F-B1D6-E2061BDF85A7}" dt="2018-11-23T13:58:06.832" v="1866" actId="20577"/>
        <pc:sldMkLst>
          <pc:docMk/>
          <pc:sldMk cId="590175795" sldId="272"/>
        </pc:sldMkLst>
        <pc:spChg chg="mod">
          <ac:chgData name="Shirley Wang (IM)" userId="da4880b3-bd35-4b71-94a0-d7a6fca1a050" providerId="ADAL" clId="{52576289-1F62-427F-B1D6-E2061BDF85A7}" dt="2018-11-23T13:58:06.832" v="1866" actId="20577"/>
          <ac:spMkLst>
            <pc:docMk/>
            <pc:sldMk cId="590175795" sldId="272"/>
            <ac:spMk id="25" creationId="{00000000-0000-0000-0000-000000000000}"/>
          </ac:spMkLst>
        </pc:spChg>
        <pc:spChg chg="mod">
          <ac:chgData name="Shirley Wang (IM)" userId="da4880b3-bd35-4b71-94a0-d7a6fca1a050" providerId="ADAL" clId="{52576289-1F62-427F-B1D6-E2061BDF85A7}" dt="2018-11-23T03:43:21.865" v="1703" actId="108"/>
          <ac:spMkLst>
            <pc:docMk/>
            <pc:sldMk cId="590175795" sldId="272"/>
            <ac:spMk id="33" creationId="{8059E029-6125-4656-A2FF-A93D7EA22008}"/>
          </ac:spMkLst>
        </pc:spChg>
        <pc:spChg chg="mod">
          <ac:chgData name="Shirley Wang (IM)" userId="da4880b3-bd35-4b71-94a0-d7a6fca1a050" providerId="ADAL" clId="{52576289-1F62-427F-B1D6-E2061BDF85A7}" dt="2018-11-19T10:14:32.341" v="265"/>
          <ac:spMkLst>
            <pc:docMk/>
            <pc:sldMk cId="590175795" sldId="272"/>
            <ac:spMk id="34" creationId="{B5785EB7-2855-41D8-8FCC-C4859C983245}"/>
          </ac:spMkLst>
        </pc:spChg>
      </pc:sldChg>
      <pc:sldChg chg="addSp delSp modSp">
        <pc:chgData name="Shirley Wang (IM)" userId="da4880b3-bd35-4b71-94a0-d7a6fca1a050" providerId="ADAL" clId="{52576289-1F62-427F-B1D6-E2061BDF85A7}" dt="2018-11-23T04:00:29.828" v="1815"/>
        <pc:sldMkLst>
          <pc:docMk/>
          <pc:sldMk cId="1799126918" sldId="274"/>
        </pc:sldMkLst>
        <pc:spChg chg="mod">
          <ac:chgData name="Shirley Wang (IM)" userId="da4880b3-bd35-4b71-94a0-d7a6fca1a050" providerId="ADAL" clId="{52576289-1F62-427F-B1D6-E2061BDF85A7}" dt="2018-11-23T03:41:46.603" v="1690" actId="108"/>
          <ac:spMkLst>
            <pc:docMk/>
            <pc:sldMk cId="1799126918" sldId="274"/>
            <ac:spMk id="113" creationId="{84835B3A-DD8E-43CC-93E1-30DC89865412}"/>
          </ac:spMkLst>
        </pc:spChg>
        <pc:grpChg chg="del">
          <ac:chgData name="Shirley Wang (IM)" userId="da4880b3-bd35-4b71-94a0-d7a6fca1a050" providerId="ADAL" clId="{52576289-1F62-427F-B1D6-E2061BDF85A7}" dt="2018-11-23T03:57:03.617" v="1725" actId="165"/>
          <ac:grpSpMkLst>
            <pc:docMk/>
            <pc:sldMk cId="1799126918" sldId="274"/>
            <ac:grpSpMk id="14" creationId="{D817530A-E2CA-46DE-BACD-60599B049746}"/>
          </ac:grpSpMkLst>
        </pc:grpChg>
        <pc:picChg chg="add">
          <ac:chgData name="Shirley Wang (IM)" userId="da4880b3-bd35-4b71-94a0-d7a6fca1a050" providerId="ADAL" clId="{52576289-1F62-427F-B1D6-E2061BDF85A7}" dt="2018-11-23T04:00:29.828" v="1815"/>
          <ac:picMkLst>
            <pc:docMk/>
            <pc:sldMk cId="1799126918" sldId="274"/>
            <ac:picMk id="7" creationId="{BE009E6E-8554-4328-8586-D0CAA6C19564}"/>
          </ac:picMkLst>
        </pc:picChg>
        <pc:picChg chg="add">
          <ac:chgData name="Shirley Wang (IM)" userId="da4880b3-bd35-4b71-94a0-d7a6fca1a050" providerId="ADAL" clId="{52576289-1F62-427F-B1D6-E2061BDF85A7}" dt="2018-11-23T04:00:29.828" v="1815"/>
          <ac:picMkLst>
            <pc:docMk/>
            <pc:sldMk cId="1799126918" sldId="274"/>
            <ac:picMk id="8" creationId="{FE977691-26A4-4B92-99C3-225F3B814A81}"/>
          </ac:picMkLst>
        </pc:picChg>
        <pc:picChg chg="del mod">
          <ac:chgData name="Shirley Wang (IM)" userId="da4880b3-bd35-4b71-94a0-d7a6fca1a050" providerId="ADAL" clId="{52576289-1F62-427F-B1D6-E2061BDF85A7}" dt="2018-11-23T04:00:29.482" v="1814" actId="478"/>
          <ac:picMkLst>
            <pc:docMk/>
            <pc:sldMk cId="1799126918" sldId="274"/>
            <ac:picMk id="9" creationId="{BF1672F6-175F-45B0-8F4B-5E09EBB0B4D5}"/>
          </ac:picMkLst>
        </pc:picChg>
        <pc:picChg chg="add">
          <ac:chgData name="Shirley Wang (IM)" userId="da4880b3-bd35-4b71-94a0-d7a6fca1a050" providerId="ADAL" clId="{52576289-1F62-427F-B1D6-E2061BDF85A7}" dt="2018-11-23T04:00:29.828" v="1815"/>
          <ac:picMkLst>
            <pc:docMk/>
            <pc:sldMk cId="1799126918" sldId="274"/>
            <ac:picMk id="10" creationId="{B17AFA93-B211-49B7-A6E8-C93D678DEFF3}"/>
          </ac:picMkLst>
        </pc:picChg>
        <pc:picChg chg="del mod topLvl">
          <ac:chgData name="Shirley Wang (IM)" userId="da4880b3-bd35-4b71-94a0-d7a6fca1a050" providerId="ADAL" clId="{52576289-1F62-427F-B1D6-E2061BDF85A7}" dt="2018-11-23T04:00:29.482" v="1814" actId="478"/>
          <ac:picMkLst>
            <pc:docMk/>
            <pc:sldMk cId="1799126918" sldId="274"/>
            <ac:picMk id="15" creationId="{28187146-C5ED-4E0E-AAEA-D7559ED4FD41}"/>
          </ac:picMkLst>
        </pc:picChg>
        <pc:picChg chg="del mod topLvl">
          <ac:chgData name="Shirley Wang (IM)" userId="da4880b3-bd35-4b71-94a0-d7a6fca1a050" providerId="ADAL" clId="{52576289-1F62-427F-B1D6-E2061BDF85A7}" dt="2018-11-23T04:00:29.482" v="1814" actId="478"/>
          <ac:picMkLst>
            <pc:docMk/>
            <pc:sldMk cId="1799126918" sldId="274"/>
            <ac:picMk id="16" creationId="{2AAAAAC2-6B16-4224-B932-05B39F3C5605}"/>
          </ac:picMkLst>
        </pc:picChg>
      </pc:sldChg>
      <pc:sldChg chg="modSp">
        <pc:chgData name="Shirley Wang (IM)" userId="da4880b3-bd35-4b71-94a0-d7a6fca1a050" providerId="ADAL" clId="{52576289-1F62-427F-B1D6-E2061BDF85A7}" dt="2018-11-23T03:44:49.659" v="1713" actId="108"/>
        <pc:sldMkLst>
          <pc:docMk/>
          <pc:sldMk cId="2095270077" sldId="300"/>
        </pc:sldMkLst>
        <pc:spChg chg="mod">
          <ac:chgData name="Shirley Wang (IM)" userId="da4880b3-bd35-4b71-94a0-d7a6fca1a050" providerId="ADAL" clId="{52576289-1F62-427F-B1D6-E2061BDF85A7}" dt="2018-11-19T08:31:09.850" v="78" actId="113"/>
          <ac:spMkLst>
            <pc:docMk/>
            <pc:sldMk cId="2095270077" sldId="300"/>
            <ac:spMk id="8" creationId="{73C76A3A-F29C-4A63-84AF-8A67FE470241}"/>
          </ac:spMkLst>
        </pc:spChg>
        <pc:spChg chg="mod">
          <ac:chgData name="Shirley Wang (IM)" userId="da4880b3-bd35-4b71-94a0-d7a6fca1a050" providerId="ADAL" clId="{52576289-1F62-427F-B1D6-E2061BDF85A7}" dt="2018-11-23T03:44:49.659" v="1713" actId="108"/>
          <ac:spMkLst>
            <pc:docMk/>
            <pc:sldMk cId="2095270077" sldId="300"/>
            <ac:spMk id="113" creationId="{84835B3A-DD8E-43CC-93E1-30DC89865412}"/>
          </ac:spMkLst>
        </pc:spChg>
      </pc:sldChg>
      <pc:sldChg chg="addSp delSp modSp add del">
        <pc:chgData name="Shirley Wang (IM)" userId="da4880b3-bd35-4b71-94a0-d7a6fca1a050" providerId="ADAL" clId="{52576289-1F62-427F-B1D6-E2061BDF85A7}" dt="2018-12-02T12:30:59.487" v="2261" actId="20577"/>
        <pc:sldMkLst>
          <pc:docMk/>
          <pc:sldMk cId="3249680348" sldId="303"/>
        </pc:sldMkLst>
        <pc:spChg chg="mod">
          <ac:chgData name="Shirley Wang (IM)" userId="da4880b3-bd35-4b71-94a0-d7a6fca1a050" providerId="ADAL" clId="{52576289-1F62-427F-B1D6-E2061BDF85A7}" dt="2018-12-02T11:28:15.507" v="2034" actId="1076"/>
          <ac:spMkLst>
            <pc:docMk/>
            <pc:sldMk cId="3249680348" sldId="303"/>
            <ac:spMk id="35" creationId="{75533553-1E1B-4891-B3B1-18D6891A637F}"/>
          </ac:spMkLst>
        </pc:spChg>
        <pc:spChg chg="mod">
          <ac:chgData name="Shirley Wang (IM)" userId="da4880b3-bd35-4b71-94a0-d7a6fca1a050" providerId="ADAL" clId="{52576289-1F62-427F-B1D6-E2061BDF85A7}" dt="2018-12-02T11:27:46.066" v="2008" actId="20577"/>
          <ac:spMkLst>
            <pc:docMk/>
            <pc:sldMk cId="3249680348" sldId="303"/>
            <ac:spMk id="36" creationId="{0BCBD213-7F52-4D2C-B32F-B85CBB4F7A3F}"/>
          </ac:spMkLst>
        </pc:spChg>
        <pc:spChg chg="add mod">
          <ac:chgData name="Shirley Wang (IM)" userId="da4880b3-bd35-4b71-94a0-d7a6fca1a050" providerId="ADAL" clId="{52576289-1F62-427F-B1D6-E2061BDF85A7}" dt="2018-12-02T12:30:59.487" v="2261" actId="20577"/>
          <ac:spMkLst>
            <pc:docMk/>
            <pc:sldMk cId="3249680348" sldId="303"/>
            <ac:spMk id="39" creationId="{EC7AFE73-36AA-4C33-BA5A-ECBBC451F9C2}"/>
          </ac:spMkLst>
        </pc:spChg>
        <pc:spChg chg="del">
          <ac:chgData name="Shirley Wang (IM)" userId="da4880b3-bd35-4b71-94a0-d7a6fca1a050" providerId="ADAL" clId="{52576289-1F62-427F-B1D6-E2061BDF85A7}" dt="2018-12-02T11:26:52.202" v="1983" actId="478"/>
          <ac:spMkLst>
            <pc:docMk/>
            <pc:sldMk cId="3249680348" sldId="303"/>
            <ac:spMk id="230" creationId="{3CC3D130-04D2-4CAD-A1A9-BFE942B0AC84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31" creationId="{26195EEF-9854-45D9-9374-C3ADCDDA0500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51" creationId="{41667FF4-DDDC-4E6A-8B66-2EC066BE5F4D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52" creationId="{95E952F4-9713-4FA4-8FA0-B31F577A5609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54" creationId="{371C9BBF-BC07-4FAA-999C-E1E01231EB47}"/>
          </ac:spMkLst>
        </pc:spChg>
        <pc:spChg chg="mod">
          <ac:chgData name="Shirley Wang (IM)" userId="da4880b3-bd35-4b71-94a0-d7a6fca1a050" providerId="ADAL" clId="{52576289-1F62-427F-B1D6-E2061BDF85A7}" dt="2018-12-02T12:30:52.589" v="2249" actId="1076"/>
          <ac:spMkLst>
            <pc:docMk/>
            <pc:sldMk cId="3249680348" sldId="303"/>
            <ac:spMk id="260" creationId="{E3F936EC-DDB2-4D78-A1D7-0EE015221925}"/>
          </ac:spMkLst>
        </pc:spChg>
        <pc:picChg chg="add 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37" creationId="{CD5A4021-1C0D-402E-8688-4369CD7EBEDE}"/>
          </ac:picMkLst>
        </pc:picChg>
        <pc:picChg chg="add mod">
          <ac:chgData name="Shirley Wang (IM)" userId="da4880b3-bd35-4b71-94a0-d7a6fca1a050" providerId="ADAL" clId="{52576289-1F62-427F-B1D6-E2061BDF85A7}" dt="2018-12-02T12:30:03.125" v="2238" actId="1076"/>
          <ac:picMkLst>
            <pc:docMk/>
            <pc:sldMk cId="3249680348" sldId="303"/>
            <ac:picMk id="38" creationId="{DD6E6FE0-D601-4D7C-87D4-6CBB4B6D02A0}"/>
          </ac:picMkLst>
        </pc:picChg>
        <pc:picChg chg="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1221" creationId="{0F1417BC-1407-43AB-A715-8BA201E3BA16}"/>
          </ac:picMkLst>
        </pc:picChg>
        <pc:picChg chg="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1229" creationId="{67EA0156-4076-4159-9C12-F6473C15F7BF}"/>
          </ac:picMkLst>
        </pc:picChg>
        <pc:picChg chg="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1234" creationId="{20A66531-6362-4FE8-BA88-11CA22F31F88}"/>
          </ac:picMkLst>
        </pc:picChg>
        <pc:cxnChg chg="add mod">
          <ac:chgData name="Shirley Wang (IM)" userId="da4880b3-bd35-4b71-94a0-d7a6fca1a050" providerId="ADAL" clId="{52576289-1F62-427F-B1D6-E2061BDF85A7}" dt="2018-12-02T12:30:03.125" v="2238" actId="1076"/>
          <ac:cxnSpMkLst>
            <pc:docMk/>
            <pc:sldMk cId="3249680348" sldId="303"/>
            <ac:cxnSpMk id="41" creationId="{6105F216-77D6-426C-92F6-50668C5F5D37}"/>
          </ac:cxnSpMkLst>
        </pc:cxnChg>
        <pc:cxnChg chg="mod">
          <ac:chgData name="Shirley Wang (IM)" userId="da4880b3-bd35-4b71-94a0-d7a6fca1a050" providerId="ADAL" clId="{52576289-1F62-427F-B1D6-E2061BDF85A7}" dt="2018-12-02T12:28:29.597" v="2229" actId="14100"/>
          <ac:cxnSpMkLst>
            <pc:docMk/>
            <pc:sldMk cId="3249680348" sldId="303"/>
            <ac:cxnSpMk id="82" creationId="{10C2879B-CB1B-4459-9A7D-5131FE880DED}"/>
          </ac:cxnSpMkLst>
        </pc:cxnChg>
        <pc:cxnChg chg="mod">
          <ac:chgData name="Shirley Wang (IM)" userId="da4880b3-bd35-4b71-94a0-d7a6fca1a050" providerId="ADAL" clId="{52576289-1F62-427F-B1D6-E2061BDF85A7}" dt="2018-12-02T12:28:36.543" v="2230" actId="14100"/>
          <ac:cxnSpMkLst>
            <pc:docMk/>
            <pc:sldMk cId="3249680348" sldId="303"/>
            <ac:cxnSpMk id="86" creationId="{E87B1090-CA6D-49CD-A850-32EC018C88FC}"/>
          </ac:cxnSpMkLst>
        </pc:cxnChg>
        <pc:cxnChg chg="mod">
          <ac:chgData name="Shirley Wang (IM)" userId="da4880b3-bd35-4b71-94a0-d7a6fca1a050" providerId="ADAL" clId="{52576289-1F62-427F-B1D6-E2061BDF85A7}" dt="2018-12-02T12:29:46.676" v="2236" actId="14100"/>
          <ac:cxnSpMkLst>
            <pc:docMk/>
            <pc:sldMk cId="3249680348" sldId="303"/>
            <ac:cxnSpMk id="89" creationId="{101E42EA-07F6-43E1-ACE4-FED5FABDF670}"/>
          </ac:cxnSpMkLst>
        </pc:cxnChg>
        <pc:cxnChg chg="mod">
          <ac:chgData name="Shirley Wang (IM)" userId="da4880b3-bd35-4b71-94a0-d7a6fca1a050" providerId="ADAL" clId="{52576289-1F62-427F-B1D6-E2061BDF85A7}" dt="2018-12-02T12:29:26.865" v="2233" actId="14100"/>
          <ac:cxnSpMkLst>
            <pc:docMk/>
            <pc:sldMk cId="3249680348" sldId="303"/>
            <ac:cxnSpMk id="97" creationId="{9453069C-9E3B-4AC5-83C4-1C3525E30F26}"/>
          </ac:cxnSpMkLst>
        </pc:cxnChg>
      </pc:sldChg>
      <pc:sldChg chg="addSp delSp modSp add del">
        <pc:chgData name="Shirley Wang (IM)" userId="da4880b3-bd35-4b71-94a0-d7a6fca1a050" providerId="ADAL" clId="{52576289-1F62-427F-B1D6-E2061BDF85A7}" dt="2018-12-02T12:31:09.025" v="2263" actId="1076"/>
        <pc:sldMkLst>
          <pc:docMk/>
          <pc:sldMk cId="4286145922" sldId="305"/>
        </pc:sldMkLst>
        <pc:spChg chg="mod">
          <ac:chgData name="Shirley Wang (IM)" userId="da4880b3-bd35-4b71-94a0-d7a6fca1a050" providerId="ADAL" clId="{52576289-1F62-427F-B1D6-E2061BDF85A7}" dt="2018-11-23T03:43:10.296" v="1702" actId="255"/>
          <ac:spMkLst>
            <pc:docMk/>
            <pc:sldMk cId="4286145922" sldId="305"/>
            <ac:spMk id="48" creationId="{B741FB1B-6E81-4256-94A6-C8FA5E0DCAE0}"/>
          </ac:spMkLst>
        </pc:spChg>
        <pc:spChg chg="add mod">
          <ac:chgData name="Shirley Wang (IM)" userId="da4880b3-bd35-4b71-94a0-d7a6fca1a050" providerId="ADAL" clId="{52576289-1F62-427F-B1D6-E2061BDF85A7}" dt="2018-12-02T12:31:09.025" v="2263" actId="1076"/>
          <ac:spMkLst>
            <pc:docMk/>
            <pc:sldMk cId="4286145922" sldId="305"/>
            <ac:spMk id="52" creationId="{32CCC090-6471-4AED-9EC6-45535F711CB6}"/>
          </ac:spMkLst>
        </pc:spChg>
        <pc:spChg chg="del">
          <ac:chgData name="Shirley Wang (IM)" userId="da4880b3-bd35-4b71-94a0-d7a6fca1a050" providerId="ADAL" clId="{52576289-1F62-427F-B1D6-E2061BDF85A7}" dt="2018-12-02T12:30:11.645" v="2241" actId="478"/>
          <ac:spMkLst>
            <pc:docMk/>
            <pc:sldMk cId="4286145922" sldId="305"/>
            <ac:spMk id="230" creationId="{3CC3D130-04D2-4CAD-A1A9-BFE942B0AC84}"/>
          </ac:spMkLst>
        </pc:spChg>
        <pc:picChg chg="add mod">
          <ac:chgData name="Shirley Wang (IM)" userId="da4880b3-bd35-4b71-94a0-d7a6fca1a050" providerId="ADAL" clId="{52576289-1F62-427F-B1D6-E2061BDF85A7}" dt="2018-12-02T12:30:10.549" v="2240" actId="1076"/>
          <ac:picMkLst>
            <pc:docMk/>
            <pc:sldMk cId="4286145922" sldId="305"/>
            <ac:picMk id="45" creationId="{BF9A0605-EEDF-4AB4-A486-794E50CA724B}"/>
          </ac:picMkLst>
        </pc:picChg>
        <pc:picChg chg="add mod">
          <ac:chgData name="Shirley Wang (IM)" userId="da4880b3-bd35-4b71-94a0-d7a6fca1a050" providerId="ADAL" clId="{52576289-1F62-427F-B1D6-E2061BDF85A7}" dt="2018-12-02T12:30:22.012" v="2243" actId="1076"/>
          <ac:picMkLst>
            <pc:docMk/>
            <pc:sldMk cId="4286145922" sldId="305"/>
            <ac:picMk id="49" creationId="{48FA5D63-2B19-407E-A923-828BCD51326B}"/>
          </ac:picMkLst>
        </pc:picChg>
        <pc:cxnChg chg="add mod">
          <ac:chgData name="Shirley Wang (IM)" userId="da4880b3-bd35-4b71-94a0-d7a6fca1a050" providerId="ADAL" clId="{52576289-1F62-427F-B1D6-E2061BDF85A7}" dt="2018-12-02T12:30:34.421" v="2247" actId="14100"/>
          <ac:cxnSpMkLst>
            <pc:docMk/>
            <pc:sldMk cId="4286145922" sldId="305"/>
            <ac:cxnSpMk id="50" creationId="{0E8A8E38-D337-429D-B384-89D33E1A769B}"/>
          </ac:cxnSpMkLst>
        </pc:cxnChg>
        <pc:cxnChg chg="mod">
          <ac:chgData name="Shirley Wang (IM)" userId="da4880b3-bd35-4b71-94a0-d7a6fca1a050" providerId="ADAL" clId="{52576289-1F62-427F-B1D6-E2061BDF85A7}" dt="2018-12-02T12:30:37.319" v="2248" actId="14100"/>
          <ac:cxnSpMkLst>
            <pc:docMk/>
            <pc:sldMk cId="4286145922" sldId="305"/>
            <ac:cxnSpMk id="58" creationId="{41D10C5E-EC3C-424B-A6A3-4D4BD48303DA}"/>
          </ac:cxnSpMkLst>
        </pc:cxnChg>
      </pc:sldChg>
      <pc:sldChg chg="modSp add del">
        <pc:chgData name="Shirley Wang (IM)" userId="da4880b3-bd35-4b71-94a0-d7a6fca1a050" providerId="ADAL" clId="{52576289-1F62-427F-B1D6-E2061BDF85A7}" dt="2018-11-23T03:42:07.756" v="1693" actId="108"/>
        <pc:sldMkLst>
          <pc:docMk/>
          <pc:sldMk cId="3312669885" sldId="310"/>
        </pc:sldMkLst>
        <pc:spChg chg="mod">
          <ac:chgData name="Shirley Wang (IM)" userId="da4880b3-bd35-4b71-94a0-d7a6fca1a050" providerId="ADAL" clId="{52576289-1F62-427F-B1D6-E2061BDF85A7}" dt="2018-11-23T03:42:07.756" v="1693" actId="108"/>
          <ac:spMkLst>
            <pc:docMk/>
            <pc:sldMk cId="3312669885" sldId="310"/>
            <ac:spMk id="68" creationId="{52BB2947-F494-4FF9-A48C-ED6F18C01944}"/>
          </ac:spMkLst>
        </pc:spChg>
      </pc:sldChg>
      <pc:sldChg chg="modSp">
        <pc:chgData name="Shirley Wang (IM)" userId="da4880b3-bd35-4b71-94a0-d7a6fca1a050" providerId="ADAL" clId="{52576289-1F62-427F-B1D6-E2061BDF85A7}" dt="2018-11-23T03:42:12.823" v="1694" actId="108"/>
        <pc:sldMkLst>
          <pc:docMk/>
          <pc:sldMk cId="2551723729" sldId="311"/>
        </pc:sldMkLst>
        <pc:spChg chg="mod">
          <ac:chgData name="Shirley Wang (IM)" userId="da4880b3-bd35-4b71-94a0-d7a6fca1a050" providerId="ADAL" clId="{52576289-1F62-427F-B1D6-E2061BDF85A7}" dt="2018-11-23T03:42:12.823" v="1694" actId="108"/>
          <ac:spMkLst>
            <pc:docMk/>
            <pc:sldMk cId="2551723729" sldId="311"/>
            <ac:spMk id="113" creationId="{84835B3A-DD8E-43CC-93E1-30DC89865412}"/>
          </ac:spMkLst>
        </pc:spChg>
      </pc:sldChg>
      <pc:sldChg chg="modSp">
        <pc:chgData name="Shirley Wang (IM)" userId="da4880b3-bd35-4b71-94a0-d7a6fca1a050" providerId="ADAL" clId="{52576289-1F62-427F-B1D6-E2061BDF85A7}" dt="2018-12-03T09:45:06.069" v="2342" actId="14100"/>
        <pc:sldMkLst>
          <pc:docMk/>
          <pc:sldMk cId="2777298460" sldId="1374"/>
        </pc:sldMkLst>
        <pc:spChg chg="mod">
          <ac:chgData name="Shirley Wang (IM)" userId="da4880b3-bd35-4b71-94a0-d7a6fca1a050" providerId="ADAL" clId="{52576289-1F62-427F-B1D6-E2061BDF85A7}" dt="2018-11-23T03:16:50.337" v="1513" actId="14100"/>
          <ac:spMkLst>
            <pc:docMk/>
            <pc:sldMk cId="2777298460" sldId="1374"/>
            <ac:spMk id="4" creationId="{00000000-0000-0000-0000-000000000000}"/>
          </ac:spMkLst>
        </pc:spChg>
        <pc:spChg chg="mod">
          <ac:chgData name="Shirley Wang (IM)" userId="da4880b3-bd35-4b71-94a0-d7a6fca1a050" providerId="ADAL" clId="{52576289-1F62-427F-B1D6-E2061BDF85A7}" dt="2018-12-03T09:45:06.069" v="2342" actId="14100"/>
          <ac:spMkLst>
            <pc:docMk/>
            <pc:sldMk cId="2777298460" sldId="1374"/>
            <ac:spMk id="5" creationId="{00000000-0000-0000-0000-000000000000}"/>
          </ac:spMkLst>
        </pc:spChg>
      </pc:sldChg>
      <pc:sldChg chg="addSp delSp modSp add ord">
        <pc:chgData name="Shirley Wang (IM)" userId="da4880b3-bd35-4b71-94a0-d7a6fca1a050" providerId="ADAL" clId="{52576289-1F62-427F-B1D6-E2061BDF85A7}" dt="2018-12-02T11:20:50.284" v="1963"/>
        <pc:sldMkLst>
          <pc:docMk/>
          <pc:sldMk cId="3681664026" sldId="1652"/>
        </pc:sldMkLst>
        <pc:spChg chg="mod">
          <ac:chgData name="Shirley Wang (IM)" userId="da4880b3-bd35-4b71-94a0-d7a6fca1a050" providerId="ADAL" clId="{52576289-1F62-427F-B1D6-E2061BDF85A7}" dt="2018-11-19T08:21:59.194" v="59" actId="404"/>
          <ac:spMkLst>
            <pc:docMk/>
            <pc:sldMk cId="3681664026" sldId="1652"/>
            <ac:spMk id="2" creationId="{D4C5F8BA-DD9D-4376-8509-72FC89781EE0}"/>
          </ac:spMkLst>
        </pc:spChg>
        <pc:spChg chg="add del mod">
          <ac:chgData name="Shirley Wang (IM)" userId="da4880b3-bd35-4b71-94a0-d7a6fca1a050" providerId="ADAL" clId="{52576289-1F62-427F-B1D6-E2061BDF85A7}" dt="2018-11-19T08:21:38.655" v="34"/>
          <ac:spMkLst>
            <pc:docMk/>
            <pc:sldMk cId="3681664026" sldId="1652"/>
            <ac:spMk id="3" creationId="{B160BD31-4946-4D8C-9060-4C738157D0A3}"/>
          </ac:spMkLst>
        </pc:spChg>
      </pc:sldChg>
      <pc:sldChg chg="modSp add ord">
        <pc:chgData name="Shirley Wang (IM)" userId="da4880b3-bd35-4b71-94a0-d7a6fca1a050" providerId="ADAL" clId="{52576289-1F62-427F-B1D6-E2061BDF85A7}" dt="2018-11-23T04:04:54.420" v="1816"/>
        <pc:sldMkLst>
          <pc:docMk/>
          <pc:sldMk cId="828700643" sldId="1653"/>
        </pc:sldMkLst>
        <pc:spChg chg="mod">
          <ac:chgData name="Shirley Wang (IM)" userId="da4880b3-bd35-4b71-94a0-d7a6fca1a050" providerId="ADAL" clId="{52576289-1F62-427F-B1D6-E2061BDF85A7}" dt="2018-11-19T08:22:03.538" v="61" actId="404"/>
          <ac:spMkLst>
            <pc:docMk/>
            <pc:sldMk cId="828700643" sldId="1653"/>
            <ac:spMk id="2" creationId="{D4C5F8BA-DD9D-4376-8509-72FC89781EE0}"/>
          </ac:spMkLst>
        </pc:spChg>
      </pc:sldChg>
      <pc:sldChg chg="addSp delSp modSp add">
        <pc:chgData name="Shirley Wang (IM)" userId="da4880b3-bd35-4b71-94a0-d7a6fca1a050" providerId="ADAL" clId="{52576289-1F62-427F-B1D6-E2061BDF85A7}" dt="2018-12-02T11:33:22.092" v="2177" actId="14100"/>
        <pc:sldMkLst>
          <pc:docMk/>
          <pc:sldMk cId="2474007931" sldId="1873"/>
        </pc:sldMkLst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17" creationId="{005C6554-7033-4FD7-817B-04EE491AC890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18" creationId="{029EA186-9883-431C-AA23-13E9D056A96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0" creationId="{66975588-CC78-4821-A755-6DCBF069CB7A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2" creationId="{C94DB16D-BD12-474E-91F7-2B08993B681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7" creationId="{2B221E4C-07E8-418B-9E78-834B1C106DA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9" creationId="{DA34DF98-0853-4D4C-8813-D270DC447790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1" creationId="{3C2DF947-5B6C-4FFF-B652-4381D3CF9D4B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2" creationId="{31030F99-B296-4B8D-BA2B-2719DB1D75A4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5" creationId="{C19C66A0-EE66-4B13-B748-6018CDE0DDA7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6" creationId="{42B4B5BD-5D8E-4F06-87B6-19D6E846C07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45" creationId="{095DFB61-8305-4F34-83B5-2F372E50C2F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46" creationId="{2F6B02B0-9284-4FF3-A830-26007B12745C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57" creationId="{AB0EBD8C-E2A2-49A3-843B-1FDEB44EECC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59" creationId="{F3ED4035-BB56-4CE1-81A0-B153BC2E6A6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0" creationId="{8DAA641D-66AF-48AF-BEF1-BD5E3652492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1" creationId="{9DAB203B-13A8-4B70-8185-01AE4D4DB4CD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2" creationId="{9CE12454-6A3A-44CB-8D67-1D787B1EF79C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3" creationId="{0B35D7E2-588A-4DC2-A2C6-A048A133C0C9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4" creationId="{EC0A003E-7ECA-42FE-BF3B-18E9E6FDA764}"/>
          </ac:spMkLst>
        </pc:spChg>
        <pc:spChg chg="add mod">
          <ac:chgData name="Shirley Wang (IM)" userId="da4880b3-bd35-4b71-94a0-d7a6fca1a050" providerId="ADAL" clId="{52576289-1F62-427F-B1D6-E2061BDF85A7}" dt="2018-12-02T11:33:22.092" v="2177" actId="14100"/>
          <ac:spMkLst>
            <pc:docMk/>
            <pc:sldMk cId="2474007931" sldId="1873"/>
            <ac:spMk id="65" creationId="{190EB120-CED2-44F4-8F3A-793E51611A56}"/>
          </ac:spMkLst>
        </pc:spChg>
        <pc:spChg chg="add">
          <ac:chgData name="Shirley Wang (IM)" userId="da4880b3-bd35-4b71-94a0-d7a6fca1a050" providerId="ADAL" clId="{52576289-1F62-427F-B1D6-E2061BDF85A7}" dt="2018-12-02T11:33:04.869" v="2176"/>
          <ac:spMkLst>
            <pc:docMk/>
            <pc:sldMk cId="2474007931" sldId="1873"/>
            <ac:spMk id="68" creationId="{51CD1D13-991D-44D7-AF80-D9070DC7C3CA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72" creationId="{3CDF9319-38AD-4685-9C5B-8916A03F6367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74" creationId="{4DE9E213-8A65-4530-A23F-78AC4A9B9D14}"/>
          </ac:spMkLst>
        </pc:spChg>
        <pc:spChg chg="add">
          <ac:chgData name="Shirley Wang (IM)" userId="da4880b3-bd35-4b71-94a0-d7a6fca1a050" providerId="ADAL" clId="{52576289-1F62-427F-B1D6-E2061BDF85A7}" dt="2018-12-02T11:33:04.869" v="2176"/>
          <ac:spMkLst>
            <pc:docMk/>
            <pc:sldMk cId="2474007931" sldId="1873"/>
            <ac:spMk id="75" creationId="{D2093F48-ED1B-4198-90BE-76F868168C29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78" creationId="{D3ED15F6-0F84-442D-8CD2-54875DB803F8}"/>
          </ac:spMkLst>
        </pc:spChg>
        <pc:spChg chg="del mod">
          <ac:chgData name="Shirley Wang (IM)" userId="da4880b3-bd35-4b71-94a0-d7a6fca1a050" providerId="ADAL" clId="{52576289-1F62-427F-B1D6-E2061BDF85A7}" dt="2018-12-02T11:32:08.141" v="2037" actId="478"/>
          <ac:spMkLst>
            <pc:docMk/>
            <pc:sldMk cId="2474007931" sldId="1873"/>
            <ac:spMk id="81" creationId="{7D063DB3-63E3-4136-AB49-B591199FFB25}"/>
          </ac:spMkLst>
        </pc:spChg>
        <pc:spChg chg="del">
          <ac:chgData name="Shirley Wang (IM)" userId="da4880b3-bd35-4b71-94a0-d7a6fca1a050" providerId="ADAL" clId="{52576289-1F62-427F-B1D6-E2061BDF85A7}" dt="2018-12-02T11:32:09.748" v="2038" actId="478"/>
          <ac:spMkLst>
            <pc:docMk/>
            <pc:sldMk cId="2474007931" sldId="1873"/>
            <ac:spMk id="82" creationId="{FDB14542-62AA-4A56-8772-8C045003D1FE}"/>
          </ac:spMkLst>
        </pc:spChg>
        <pc:spChg chg="del">
          <ac:chgData name="Shirley Wang (IM)" userId="da4880b3-bd35-4b71-94a0-d7a6fca1a050" providerId="ADAL" clId="{52576289-1F62-427F-B1D6-E2061BDF85A7}" dt="2018-12-02T11:32:11.035" v="2039" actId="478"/>
          <ac:spMkLst>
            <pc:docMk/>
            <pc:sldMk cId="2474007931" sldId="1873"/>
            <ac:spMk id="83" creationId="{773AE37E-B94C-443D-9C82-D17FE5C5AC13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123" creationId="{D5CDAE0F-0B5F-4F2E-8CA1-5BB4F041F851}"/>
          </ac:spMkLst>
        </pc:spChg>
        <pc:grpChg chg="mod">
          <ac:chgData name="Shirley Wang (IM)" userId="da4880b3-bd35-4b71-94a0-d7a6fca1a050" providerId="ADAL" clId="{52576289-1F62-427F-B1D6-E2061BDF85A7}" dt="2018-12-02T11:32:29.268" v="2172" actId="1038"/>
          <ac:grpSpMkLst>
            <pc:docMk/>
            <pc:sldMk cId="2474007931" sldId="1873"/>
            <ac:grpSpMk id="15" creationId="{1E8D658E-5222-4EA5-A452-5AA9AA49C4D8}"/>
          </ac:grpSpMkLst>
        </pc:grpChg>
        <pc:grpChg chg="mod">
          <ac:chgData name="Shirley Wang (IM)" userId="da4880b3-bd35-4b71-94a0-d7a6fca1a050" providerId="ADAL" clId="{52576289-1F62-427F-B1D6-E2061BDF85A7}" dt="2018-12-02T11:32:29.268" v="2172" actId="1038"/>
          <ac:grpSpMkLst>
            <pc:docMk/>
            <pc:sldMk cId="2474007931" sldId="1873"/>
            <ac:grpSpMk id="40" creationId="{DDA2F3E5-6B52-4C08-BBF6-634DDA94B45F}"/>
          </ac:grpSpMkLst>
        </pc:grp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3" creationId="{661D5180-C214-402E-A2B1-171F6C5B2BB4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5" creationId="{6AFA2849-DC78-40EC-93CE-78C45A0F6830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21" creationId="{23D93E9B-7D38-4A37-9797-D94A97223323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33" creationId="{882F6FEA-6ADE-4725-89D7-C4DB5DF6BD11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42" creationId="{97B86723-0FB8-42F6-B7A4-BD7C3C54A17E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47" creationId="{AED0228B-4662-48D0-A884-3AD0D6B01D61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48" creationId="{B59F154E-2E9A-4649-931F-2488C923D362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50" creationId="{58ACCCB9-6A0C-46BD-BC00-2FBB592D437B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53" creationId="{BA8019C1-297B-46D4-8B9C-D0E410E9EEB6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79" creationId="{DACE255A-4F36-4CD2-9B2F-AD025D688BD1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0" creationId="{8B6F3FE8-BFEA-4591-AA21-451E60ECEE1B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4" creationId="{D0CDDBD7-549E-4A7F-9669-60D1F5A734C5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6" creationId="{0045662A-EACD-4287-B00B-BBA6EFD4560D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7" creationId="{039992B6-A7DD-4668-B9EE-D7684C75AE04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8" creationId="{D729F4EF-C00B-4F83-AA2C-837980FC49C6}"/>
          </ac:picMkLst>
        </pc:pic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19" creationId="{3A95DAF6-04E2-4384-BB8B-B9B6B58E307A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43" creationId="{D4E385F1-7A8F-436F-B6BA-18F11BABC1D0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44" creationId="{F24BF073-3D98-410B-9BC2-3F2270708AE0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49" creationId="{8F7A8F24-B21A-40DD-94C6-BF4CB3875348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52" creationId="{E4CED6A6-F53E-4397-9639-240C0B56D184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66" creationId="{0B356A6B-0164-4398-B570-A1F6B7F9F205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67" creationId="{D7900D27-B01D-4B85-8C5D-1E15BD88A73B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69" creationId="{90E88328-F82C-4906-89F3-82B6B96A790E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70" creationId="{919B3A7B-BEA4-4F69-8782-604057891238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71" creationId="{120FF923-36A0-419D-B58E-DEEA26F70C64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73" creationId="{86231B9F-E3C5-4BEB-8C67-916D75FC05E2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85" creationId="{B71888BB-2D5B-457D-8D15-D4385E9B1996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94" creationId="{87F235D6-C9D6-4134-8F25-3D566BA3C7B5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105" creationId="{A1648413-F9FF-4CB3-92FF-125136A3EC96}"/>
          </ac:cxnSpMkLst>
        </pc:cxnChg>
      </pc:sldChg>
      <pc:sldChg chg="addSp delSp modSp add ord">
        <pc:chgData name="Shirley Wang (IM)" userId="da4880b3-bd35-4b71-94a0-d7a6fca1a050" providerId="ADAL" clId="{52576289-1F62-427F-B1D6-E2061BDF85A7}" dt="2018-12-02T12:27:39.413" v="2195" actId="20577"/>
        <pc:sldMkLst>
          <pc:docMk/>
          <pc:sldMk cId="307657782" sldId="1877"/>
        </pc:sldMkLst>
        <pc:spChg chg="mod topLvl">
          <ac:chgData name="Shirley Wang (IM)" userId="da4880b3-bd35-4b71-94a0-d7a6fca1a050" providerId="ADAL" clId="{52576289-1F62-427F-B1D6-E2061BDF85A7}" dt="2018-12-02T12:27:39.413" v="2195" actId="20577"/>
          <ac:spMkLst>
            <pc:docMk/>
            <pc:sldMk cId="307657782" sldId="1877"/>
            <ac:spMk id="9" creationId="{2F635D79-C936-4D76-9527-C3B7EA732402}"/>
          </ac:spMkLst>
        </pc:spChg>
        <pc:spChg chg="mod topLvl">
          <ac:chgData name="Shirley Wang (IM)" userId="da4880b3-bd35-4b71-94a0-d7a6fca1a050" providerId="ADAL" clId="{52576289-1F62-427F-B1D6-E2061BDF85A7}" dt="2018-12-02T12:26:51.582" v="2189" actId="20577"/>
          <ac:spMkLst>
            <pc:docMk/>
            <pc:sldMk cId="307657782" sldId="1877"/>
            <ac:spMk id="13" creationId="{3D23CE4A-A0E7-4711-86F4-8C5430D15B37}"/>
          </ac:spMkLst>
        </pc:spChg>
        <pc:spChg chg="mod topLvl">
          <ac:chgData name="Shirley Wang (IM)" userId="da4880b3-bd35-4b71-94a0-d7a6fca1a050" providerId="ADAL" clId="{52576289-1F62-427F-B1D6-E2061BDF85A7}" dt="2018-11-23T13:56:36.984" v="1851" actId="554"/>
          <ac:spMkLst>
            <pc:docMk/>
            <pc:sldMk cId="307657782" sldId="1877"/>
            <ac:spMk id="20" creationId="{1DE0DDFF-4A74-4E85-8D31-EEBB1CFCF938}"/>
          </ac:spMkLst>
        </pc:spChg>
        <pc:spChg chg="mod topLvl">
          <ac:chgData name="Shirley Wang (IM)" userId="da4880b3-bd35-4b71-94a0-d7a6fca1a050" providerId="ADAL" clId="{52576289-1F62-427F-B1D6-E2061BDF85A7}" dt="2018-11-23T13:56:58.924" v="1854" actId="554"/>
          <ac:spMkLst>
            <pc:docMk/>
            <pc:sldMk cId="307657782" sldId="1877"/>
            <ac:spMk id="22" creationId="{FC778084-802A-4046-892A-C70A4AE47332}"/>
          </ac:spMkLst>
        </pc:spChg>
        <pc:spChg chg="mod topLvl">
          <ac:chgData name="Shirley Wang (IM)" userId="da4880b3-bd35-4b71-94a0-d7a6fca1a050" providerId="ADAL" clId="{52576289-1F62-427F-B1D6-E2061BDF85A7}" dt="2018-11-23T13:56:58.924" v="1854" actId="554"/>
          <ac:spMkLst>
            <pc:docMk/>
            <pc:sldMk cId="307657782" sldId="1877"/>
            <ac:spMk id="25" creationId="{7F5A5711-CE44-4335-B725-487E95488C52}"/>
          </ac:spMkLst>
        </pc:spChg>
        <pc:spChg chg="mod topLvl">
          <ac:chgData name="Shirley Wang (IM)" userId="da4880b3-bd35-4b71-94a0-d7a6fca1a050" providerId="ADAL" clId="{52576289-1F62-427F-B1D6-E2061BDF85A7}" dt="2018-11-23T13:56:58.924" v="1854" actId="554"/>
          <ac:spMkLst>
            <pc:docMk/>
            <pc:sldMk cId="307657782" sldId="1877"/>
            <ac:spMk id="27" creationId="{CF1168C9-8EAD-40C4-A7CE-6B5DC2854ADC}"/>
          </ac:spMkLst>
        </pc:spChg>
        <pc:spChg chg="add mod">
          <ac:chgData name="Shirley Wang (IM)" userId="da4880b3-bd35-4b71-94a0-d7a6fca1a050" providerId="ADAL" clId="{52576289-1F62-427F-B1D6-E2061BDF85A7}" dt="2018-11-19T10:23:38.299" v="420" actId="571"/>
          <ac:spMkLst>
            <pc:docMk/>
            <pc:sldMk cId="307657782" sldId="1877"/>
            <ac:spMk id="28" creationId="{0CD59EC2-9609-4664-A9FA-6C4B2A75385B}"/>
          </ac:spMkLst>
        </pc:spChg>
        <pc:spChg chg="add mod">
          <ac:chgData name="Shirley Wang (IM)" userId="da4880b3-bd35-4b71-94a0-d7a6fca1a050" providerId="ADAL" clId="{52576289-1F62-427F-B1D6-E2061BDF85A7}" dt="2018-11-19T10:26:58.383" v="463" actId="571"/>
          <ac:spMkLst>
            <pc:docMk/>
            <pc:sldMk cId="307657782" sldId="1877"/>
            <ac:spMk id="30" creationId="{4CD58B2E-6A95-4BD7-88E6-048E9B52C2C5}"/>
          </ac:spMkLst>
        </pc:spChg>
        <pc:spChg chg="mod">
          <ac:chgData name="Shirley Wang (IM)" userId="da4880b3-bd35-4b71-94a0-d7a6fca1a050" providerId="ADAL" clId="{52576289-1F62-427F-B1D6-E2061BDF85A7}" dt="2018-11-23T03:44:12.615" v="1706" actId="108"/>
          <ac:spMkLst>
            <pc:docMk/>
            <pc:sldMk cId="307657782" sldId="1877"/>
            <ac:spMk id="33" creationId="{53DABB43-3747-4A16-AE3E-6D88AE3A0C03}"/>
          </ac:spMkLst>
        </pc:spChg>
        <pc:spChg chg="add mod">
          <ac:chgData name="Shirley Wang (IM)" userId="da4880b3-bd35-4b71-94a0-d7a6fca1a050" providerId="ADAL" clId="{52576289-1F62-427F-B1D6-E2061BDF85A7}" dt="2018-11-19T10:35:13.113" v="647" actId="571"/>
          <ac:spMkLst>
            <pc:docMk/>
            <pc:sldMk cId="307657782" sldId="1877"/>
            <ac:spMk id="36" creationId="{636D8BF0-971C-4DD7-839A-8711965C9A7B}"/>
          </ac:spMkLst>
        </pc:spChg>
        <pc:grpChg chg="add del mod">
          <ac:chgData name="Shirley Wang (IM)" userId="da4880b3-bd35-4b71-94a0-d7a6fca1a050" providerId="ADAL" clId="{52576289-1F62-427F-B1D6-E2061BDF85A7}" dt="2018-11-19T10:26:20.257" v="454" actId="165"/>
          <ac:grpSpMkLst>
            <pc:docMk/>
            <pc:sldMk cId="307657782" sldId="1877"/>
            <ac:grpSpMk id="2" creationId="{AB412E7E-1077-477E-A6BC-D9E5ED7F925C}"/>
          </ac:grpSpMkLst>
        </pc:grpChg>
        <pc:grpChg chg="del mod">
          <ac:chgData name="Shirley Wang (IM)" userId="da4880b3-bd35-4b71-94a0-d7a6fca1a050" providerId="ADAL" clId="{52576289-1F62-427F-B1D6-E2061BDF85A7}" dt="2018-11-19T10:26:13.596" v="452" actId="165"/>
          <ac:grpSpMkLst>
            <pc:docMk/>
            <pc:sldMk cId="307657782" sldId="1877"/>
            <ac:grpSpMk id="6" creationId="{08D30C23-709C-4E79-BBDE-A8047BCF6AB8}"/>
          </ac:grpSpMkLst>
        </pc:grpChg>
        <pc:grpChg chg="del mod">
          <ac:chgData name="Shirley Wang (IM)" userId="da4880b3-bd35-4b71-94a0-d7a6fca1a050" providerId="ADAL" clId="{52576289-1F62-427F-B1D6-E2061BDF85A7}" dt="2018-11-19T10:26:04.381" v="451" actId="165"/>
          <ac:grpSpMkLst>
            <pc:docMk/>
            <pc:sldMk cId="307657782" sldId="1877"/>
            <ac:grpSpMk id="10" creationId="{47523417-EA5D-4D81-95BA-7792F0F7FC85}"/>
          </ac:grpSpMkLst>
        </pc:grpChg>
        <pc:grpChg chg="del">
          <ac:chgData name="Shirley Wang (IM)" userId="da4880b3-bd35-4b71-94a0-d7a6fca1a050" providerId="ADAL" clId="{52576289-1F62-427F-B1D6-E2061BDF85A7}" dt="2018-11-19T10:25:55.743" v="450" actId="165"/>
          <ac:grpSpMkLst>
            <pc:docMk/>
            <pc:sldMk cId="307657782" sldId="1877"/>
            <ac:grpSpMk id="14" creationId="{82EE38A2-D02B-469C-9517-E41F4F4FBCBB}"/>
          </ac:grpSpMkLst>
        </pc:grpChg>
        <pc:grpChg chg="del mod topLvl">
          <ac:chgData name="Shirley Wang (IM)" userId="da4880b3-bd35-4b71-94a0-d7a6fca1a050" providerId="ADAL" clId="{52576289-1F62-427F-B1D6-E2061BDF85A7}" dt="2018-11-19T10:26:31.096" v="457" actId="165"/>
          <ac:grpSpMkLst>
            <pc:docMk/>
            <pc:sldMk cId="307657782" sldId="1877"/>
            <ac:grpSpMk id="15" creationId="{E32AEC10-CF9C-49F1-BA42-0F52586772BD}"/>
          </ac:grpSpMkLst>
        </pc:grpChg>
        <pc:grpChg chg="del mod topLvl">
          <ac:chgData name="Shirley Wang (IM)" userId="da4880b3-bd35-4b71-94a0-d7a6fca1a050" providerId="ADAL" clId="{52576289-1F62-427F-B1D6-E2061BDF85A7}" dt="2018-11-19T10:26:34.050" v="458" actId="165"/>
          <ac:grpSpMkLst>
            <pc:docMk/>
            <pc:sldMk cId="307657782" sldId="1877"/>
            <ac:grpSpMk id="16" creationId="{5FE38622-8AC4-494C-95A4-AD35C9921BAA}"/>
          </ac:grpSpMkLst>
        </pc:grpChg>
        <pc:grpChg chg="del mod topLvl">
          <ac:chgData name="Shirley Wang (IM)" userId="da4880b3-bd35-4b71-94a0-d7a6fca1a050" providerId="ADAL" clId="{52576289-1F62-427F-B1D6-E2061BDF85A7}" dt="2018-11-19T10:26:42.634" v="459" actId="165"/>
          <ac:grpSpMkLst>
            <pc:docMk/>
            <pc:sldMk cId="307657782" sldId="1877"/>
            <ac:grpSpMk id="17" creationId="{2FFC6584-F348-4868-A273-322D48DBE13F}"/>
          </ac:grpSpMkLst>
        </pc:grpChg>
        <pc:grpChg chg="del mod topLvl">
          <ac:chgData name="Shirley Wang (IM)" userId="da4880b3-bd35-4b71-94a0-d7a6fca1a050" providerId="ADAL" clId="{52576289-1F62-427F-B1D6-E2061BDF85A7}" dt="2018-11-19T10:26:23.977" v="456" actId="165"/>
          <ac:grpSpMkLst>
            <pc:docMk/>
            <pc:sldMk cId="307657782" sldId="1877"/>
            <ac:grpSpMk id="18" creationId="{6E86A8FD-CF71-4D9E-8AD1-BB21A5A58F36}"/>
          </ac:grpSpMkLst>
        </pc:grpChg>
        <pc:picChg chg="mod topLvl">
          <ac:chgData name="Shirley Wang (IM)" userId="da4880b3-bd35-4b71-94a0-d7a6fca1a050" providerId="ADAL" clId="{52576289-1F62-427F-B1D6-E2061BDF85A7}" dt="2018-11-23T13:56:44.543" v="1852" actId="12789"/>
          <ac:picMkLst>
            <pc:docMk/>
            <pc:sldMk cId="307657782" sldId="1877"/>
            <ac:picMk id="7" creationId="{F900FADB-CAC6-4C36-B477-85442258E8F5}"/>
          </ac:picMkLst>
        </pc:picChg>
        <pc:picChg chg="mod topLvl">
          <ac:chgData name="Shirley Wang (IM)" userId="da4880b3-bd35-4b71-94a0-d7a6fca1a050" providerId="ADAL" clId="{52576289-1F62-427F-B1D6-E2061BDF85A7}" dt="2018-11-23T13:56:44.543" v="1852" actId="12789"/>
          <ac:picMkLst>
            <pc:docMk/>
            <pc:sldMk cId="307657782" sldId="1877"/>
            <ac:picMk id="12" creationId="{63C4DB65-9143-4053-B6DD-6A02747D011C}"/>
          </ac:picMkLst>
        </pc:picChg>
        <pc:picChg chg="mod topLvl">
          <ac:chgData name="Shirley Wang (IM)" userId="da4880b3-bd35-4b71-94a0-d7a6fca1a050" providerId="ADAL" clId="{52576289-1F62-427F-B1D6-E2061BDF85A7}" dt="2018-11-23T13:56:44.543" v="1852" actId="12789"/>
          <ac:picMkLst>
            <pc:docMk/>
            <pc:sldMk cId="307657782" sldId="1877"/>
            <ac:picMk id="19" creationId="{88960E92-2E53-4E8B-B028-32A41D44810D}"/>
          </ac:picMkLst>
        </pc:picChg>
        <pc:picChg chg="mod topLvl">
          <ac:chgData name="Shirley Wang (IM)" userId="da4880b3-bd35-4b71-94a0-d7a6fca1a050" providerId="ADAL" clId="{52576289-1F62-427F-B1D6-E2061BDF85A7}" dt="2018-11-23T13:56:50.277" v="1853" actId="12789"/>
          <ac:picMkLst>
            <pc:docMk/>
            <pc:sldMk cId="307657782" sldId="1877"/>
            <ac:picMk id="21" creationId="{994AE0EE-5807-4526-BE54-CAB10424AD9A}"/>
          </ac:picMkLst>
        </pc:picChg>
        <pc:picChg chg="mod topLvl">
          <ac:chgData name="Shirley Wang (IM)" userId="da4880b3-bd35-4b71-94a0-d7a6fca1a050" providerId="ADAL" clId="{52576289-1F62-427F-B1D6-E2061BDF85A7}" dt="2018-11-23T13:56:50.277" v="1853" actId="12789"/>
          <ac:picMkLst>
            <pc:docMk/>
            <pc:sldMk cId="307657782" sldId="1877"/>
            <ac:picMk id="23" creationId="{5C56A675-1BA0-4379-A582-2FEB753271B7}"/>
          </ac:picMkLst>
        </pc:picChg>
        <pc:picChg chg="add del mod">
          <ac:chgData name="Shirley Wang (IM)" userId="da4880b3-bd35-4b71-94a0-d7a6fca1a050" providerId="ADAL" clId="{52576289-1F62-427F-B1D6-E2061BDF85A7}" dt="2018-11-19T10:23:38.299" v="420" actId="571"/>
          <ac:picMkLst>
            <pc:docMk/>
            <pc:sldMk cId="307657782" sldId="1877"/>
            <ac:picMk id="24" creationId="{615D9A4F-772C-427E-A410-19901B1BF5B8}"/>
          </ac:picMkLst>
        </pc:picChg>
        <pc:picChg chg="mod topLvl">
          <ac:chgData name="Shirley Wang (IM)" userId="da4880b3-bd35-4b71-94a0-d7a6fca1a050" providerId="ADAL" clId="{52576289-1F62-427F-B1D6-E2061BDF85A7}" dt="2018-11-23T13:56:50.277" v="1853" actId="12789"/>
          <ac:picMkLst>
            <pc:docMk/>
            <pc:sldMk cId="307657782" sldId="1877"/>
            <ac:picMk id="26" creationId="{BA43B6AC-54C5-4C1B-9532-422012AB698A}"/>
          </ac:picMkLst>
        </pc:picChg>
        <pc:picChg chg="add mod">
          <ac:chgData name="Shirley Wang (IM)" userId="da4880b3-bd35-4b71-94a0-d7a6fca1a050" providerId="ADAL" clId="{52576289-1F62-427F-B1D6-E2061BDF85A7}" dt="2018-11-19T10:26:58.383" v="463" actId="571"/>
          <ac:picMkLst>
            <pc:docMk/>
            <pc:sldMk cId="307657782" sldId="1877"/>
            <ac:picMk id="29" creationId="{B320036E-9A36-4BF5-A6B1-E11733B0CA0F}"/>
          </ac:picMkLst>
        </pc:picChg>
        <pc:picChg chg="add del mod">
          <ac:chgData name="Shirley Wang (IM)" userId="da4880b3-bd35-4b71-94a0-d7a6fca1a050" providerId="ADAL" clId="{52576289-1F62-427F-B1D6-E2061BDF85A7}" dt="2018-11-19T10:34:25.121" v="635" actId="478"/>
          <ac:picMkLst>
            <pc:docMk/>
            <pc:sldMk cId="307657782" sldId="1877"/>
            <ac:picMk id="31" creationId="{34CF974F-F508-4AD3-8D71-8C371B2A7E94}"/>
          </ac:picMkLst>
        </pc:picChg>
        <pc:picChg chg="add del mod">
          <ac:chgData name="Shirley Wang (IM)" userId="da4880b3-bd35-4b71-94a0-d7a6fca1a050" providerId="ADAL" clId="{52576289-1F62-427F-B1D6-E2061BDF85A7}" dt="2018-11-19T10:34:44.787" v="641" actId="478"/>
          <ac:picMkLst>
            <pc:docMk/>
            <pc:sldMk cId="307657782" sldId="1877"/>
            <ac:picMk id="32" creationId="{1920B674-CBA5-4FC7-84CD-3D3059493684}"/>
          </ac:picMkLst>
        </pc:picChg>
        <pc:picChg chg="add del mod">
          <ac:chgData name="Shirley Wang (IM)" userId="da4880b3-bd35-4b71-94a0-d7a6fca1a050" providerId="ADAL" clId="{52576289-1F62-427F-B1D6-E2061BDF85A7}" dt="2018-11-19T10:34:32.302" v="638" actId="478"/>
          <ac:picMkLst>
            <pc:docMk/>
            <pc:sldMk cId="307657782" sldId="1877"/>
            <ac:picMk id="34" creationId="{63BAEAFD-731F-4E11-9AC0-94647022E078}"/>
          </ac:picMkLst>
        </pc:picChg>
        <pc:picChg chg="add mod">
          <ac:chgData name="Shirley Wang (IM)" userId="da4880b3-bd35-4b71-94a0-d7a6fca1a050" providerId="ADAL" clId="{52576289-1F62-427F-B1D6-E2061BDF85A7}" dt="2018-11-19T10:35:13.113" v="647" actId="571"/>
          <ac:picMkLst>
            <pc:docMk/>
            <pc:sldMk cId="307657782" sldId="1877"/>
            <ac:picMk id="35" creationId="{2CA3A853-9113-4913-BDDE-93273517BFDA}"/>
          </ac:picMkLst>
        </pc:picChg>
        <pc:picChg chg="add mod">
          <ac:chgData name="Shirley Wang (IM)" userId="da4880b3-bd35-4b71-94a0-d7a6fca1a050" providerId="ADAL" clId="{52576289-1F62-427F-B1D6-E2061BDF85A7}" dt="2018-11-19T10:35:13.113" v="647" actId="571"/>
          <ac:picMkLst>
            <pc:docMk/>
            <pc:sldMk cId="307657782" sldId="1877"/>
            <ac:picMk id="37" creationId="{2F6E44D0-F350-4F23-9510-109A5A820320}"/>
          </ac:picMkLst>
        </pc:picChg>
      </pc:sldChg>
      <pc:sldChg chg="addSp delSp modSp add">
        <pc:chgData name="Shirley Wang (IM)" userId="da4880b3-bd35-4b71-94a0-d7a6fca1a050" providerId="ADAL" clId="{52576289-1F62-427F-B1D6-E2061BDF85A7}" dt="2018-12-02T11:24:34.121" v="1974"/>
        <pc:sldMkLst>
          <pc:docMk/>
          <pc:sldMk cId="3471618729" sldId="1885"/>
        </pc:sldMkLst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41" creationId="{4873D825-93E2-47F3-96FB-E6C4EE7610B3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42" creationId="{6D135903-648C-4C38-9454-98816554D262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2" creationId="{0221D44A-2707-4585-B2EE-005FAFFFB169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5" creationId="{F6BB1982-13BC-4712-AC3D-76B290C29D45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7" creationId="{F365CB6B-C111-4EF6-A8EB-C3D7A26E3EB2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8" creationId="{0D9DFE0C-95FA-425B-B41B-1499A18FB1DD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65" creationId="{2460515A-A536-4B1B-AE1B-F7082BCF84D2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70" creationId="{E71947B4-BBCF-441C-AF5B-C6AEC3B795B7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36" creationId="{004EB5FA-7291-4C98-A605-4F50B848EAA4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48" creationId="{D322D909-A987-481C-A670-8B8109A14404}"/>
          </ac:spMkLst>
        </pc:spChg>
        <pc:spChg chg="del mod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49" creationId="{8BE031A7-9B6F-4C69-A610-A826DFDEDAB1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0" creationId="{24CEDF74-995A-419B-AD6E-898F27AB723F}"/>
          </ac:spMkLst>
        </pc:spChg>
        <pc:spChg chg="del mod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1" creationId="{6CF3C995-2C79-43BE-959A-DDA9F5282E4A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2" creationId="{2AA7F8EA-3F10-4BFA-90C2-7EF58FF24FF1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4" creationId="{27263E0B-BAB5-4716-B734-4770D7A046A6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55" creationId="{95F3FD24-C680-420A-A9F6-7D50A86978C7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6" creationId="{2317B2C4-D610-4DC8-8FB6-A775EC7F7B20}"/>
          </ac:spMkLst>
        </pc:spChg>
        <pc:spChg chg="mod">
          <ac:chgData name="Shirley Wang (IM)" userId="da4880b3-bd35-4b71-94a0-d7a6fca1a050" providerId="ADAL" clId="{52576289-1F62-427F-B1D6-E2061BDF85A7}" dt="2018-11-23T03:56:06.590" v="1723" actId="14100"/>
          <ac:spMkLst>
            <pc:docMk/>
            <pc:sldMk cId="3471618729" sldId="1885"/>
            <ac:spMk id="157" creationId="{0F3FB124-4C3B-4C58-87FC-C9D777D71D3F}"/>
          </ac:spMkLst>
        </pc:spChg>
        <pc:spChg chg="mod">
          <ac:chgData name="Shirley Wang (IM)" userId="da4880b3-bd35-4b71-94a0-d7a6fca1a050" providerId="ADAL" clId="{52576289-1F62-427F-B1D6-E2061BDF85A7}" dt="2018-11-23T03:59:44.688" v="1813" actId="1076"/>
          <ac:spMkLst>
            <pc:docMk/>
            <pc:sldMk cId="3471618729" sldId="1885"/>
            <ac:spMk id="158" creationId="{83E0CDEC-3FF4-4C6D-A38F-41B2F9DFD677}"/>
          </ac:spMkLst>
        </pc:spChg>
        <pc:spChg chg="mod">
          <ac:chgData name="Shirley Wang (IM)" userId="da4880b3-bd35-4b71-94a0-d7a6fca1a050" providerId="ADAL" clId="{52576289-1F62-427F-B1D6-E2061BDF85A7}" dt="2018-12-02T11:24:18.187" v="1971" actId="20577"/>
          <ac:spMkLst>
            <pc:docMk/>
            <pc:sldMk cId="3471618729" sldId="1885"/>
            <ac:spMk id="159" creationId="{2D38ADE1-09D7-46ED-B830-3122B0EDF1CA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61" creationId="{51DAF2F1-4B2A-4E3A-91C8-90E93BBF7E57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62" creationId="{BC33C316-6887-4EBA-AB85-6B48B98A2991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64" creationId="{82365424-865D-457D-9BBF-DD5CC4A6F528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65" creationId="{4F338A48-243F-463B-931C-CF225EE50FDF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68" creationId="{BB73BBF5-DB06-4B14-BED3-9E895DE9745B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70" creationId="{91785FF7-4C9D-4F76-BA08-59E5249D4295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71" creationId="{06D57630-0B04-4ADA-909E-78036BF6193E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72" creationId="{E2F53166-5CE6-49E9-9730-A4DE18B6D47F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74" creationId="{28B519DD-38A8-411B-87A4-C9D76F457634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83" creationId="{38C76963-2A0A-45D0-8A4F-B79F1A37CBF7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84" creationId="{AF3B98BB-4BAA-4E3D-9796-D3361C8CE332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86" creationId="{FA88C94D-ABDC-4822-9D1A-75F59D8B6C01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52" creationId="{00969007-6EEB-41AD-B0B6-5182BABE8637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4" creationId="{05B94146-6E2B-498D-A97A-9A15C27088E8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5" creationId="{5DB140A0-9E6A-442E-85A3-EAD45F17C91A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6" creationId="{32329837-BBF4-4121-B786-D896A0A66A20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7" creationId="{BA11A9EF-93FF-47D4-BB2D-C2F1C49050C4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8" creationId="{A7F82475-21A5-470C-98C2-141C176396E3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0" creationId="{BB50F891-5682-453C-9AB1-790914252364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2" creationId="{DE3AD066-FA0E-45A5-8D6C-0270D1F46D1B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4" creationId="{B155FF6A-CE7F-4249-BED7-8E8718FA2790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5" creationId="{DC3BD6CD-E7C0-434E-8210-9AC897446196}"/>
          </ac:spMkLst>
        </pc:s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71" creationId="{279C5A03-58F6-442B-ACD6-049453FCB69F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85" creationId="{0ADD494C-2790-4063-8BD3-F244F4643682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01" creationId="{611846C2-D18F-463E-A182-BA22BBD7696B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10" creationId="{0BBA0119-1288-45CA-9145-08461052AFE2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19" creationId="{A10C4126-9CCD-46A2-ABCD-BA316A5407D3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30" creationId="{30B9744B-74F3-4B39-BA9F-C25D5EA35B0F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37" creationId="{880C3AB9-0446-4587-B7B9-12720B588227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45" creationId="{5921ABC7-25F2-4EC9-AB5F-FD96E1AEF161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75" creationId="{6BA5730F-8581-4C92-826A-B435D2E7F2BB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187" creationId="{0C4A4B8B-24E1-4722-86F0-491FE9D03192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01" creationId="{BA85707F-839A-424A-B2A0-D1E98FBDC69A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17" creationId="{ACFD76B3-52C3-4957-8C9A-9BEAD33F2D21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26" creationId="{379BCE43-AECC-4A67-8CCD-78DA8DD5B336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35" creationId="{2C711776-E149-4F75-AFD3-59EB67F65E1E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46" creationId="{ABCBAFDB-E5BE-4925-ADA1-D02421E4D6AE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53" creationId="{B4BD7B08-E7F5-4C64-B2ED-E8BBFE0E7771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61" creationId="{71FC833C-9CE0-4003-B47E-0058F8949D01}"/>
          </ac:grpSpMkLst>
        </pc:grpChg>
        <pc:picChg chg="del">
          <ac:chgData name="Shirley Wang (IM)" userId="da4880b3-bd35-4b71-94a0-d7a6fca1a050" providerId="ADAL" clId="{52576289-1F62-427F-B1D6-E2061BDF85A7}" dt="2018-12-02T11:23:59.611" v="1967" actId="478"/>
          <ac:picMkLst>
            <pc:docMk/>
            <pc:sldMk cId="3471618729" sldId="1885"/>
            <ac:picMk id="3" creationId="{10341F7D-5575-48DB-A382-40F3F5BEA8E5}"/>
          </ac:picMkLst>
        </pc:picChg>
        <pc:picChg chg="del">
          <ac:chgData name="Shirley Wang (IM)" userId="da4880b3-bd35-4b71-94a0-d7a6fca1a050" providerId="ADAL" clId="{52576289-1F62-427F-B1D6-E2061BDF85A7}" dt="2018-12-02T11:23:59.611" v="1967" actId="478"/>
          <ac:picMkLst>
            <pc:docMk/>
            <pc:sldMk cId="3471618729" sldId="1885"/>
            <ac:picMk id="160" creationId="{C7F05692-EB3A-4477-B4B0-CA8C5661BF77}"/>
          </ac:picMkLst>
        </pc:picChg>
        <pc:picChg chg="del">
          <ac:chgData name="Shirley Wang (IM)" userId="da4880b3-bd35-4b71-94a0-d7a6fca1a050" providerId="ADAL" clId="{52576289-1F62-427F-B1D6-E2061BDF85A7}" dt="2018-12-02T11:23:59.611" v="1967" actId="478"/>
          <ac:picMkLst>
            <pc:docMk/>
            <pc:sldMk cId="3471618729" sldId="1885"/>
            <ac:picMk id="173" creationId="{37B2123D-2E82-4A43-83E6-EA0E2DB5323E}"/>
          </ac:picMkLst>
        </pc:picChg>
        <pc:picChg chg="add">
          <ac:chgData name="Shirley Wang (IM)" userId="da4880b3-bd35-4b71-94a0-d7a6fca1a050" providerId="ADAL" clId="{52576289-1F62-427F-B1D6-E2061BDF85A7}" dt="2018-12-02T11:24:34.121" v="1974"/>
          <ac:picMkLst>
            <pc:docMk/>
            <pc:sldMk cId="3471618729" sldId="1885"/>
            <ac:picMk id="271" creationId="{6935DE22-29D1-410F-8A14-1920A525DCCB}"/>
          </ac:picMkLst>
        </pc:picChg>
        <pc:picChg chg="add">
          <ac:chgData name="Shirley Wang (IM)" userId="da4880b3-bd35-4b71-94a0-d7a6fca1a050" providerId="ADAL" clId="{52576289-1F62-427F-B1D6-E2061BDF85A7}" dt="2018-12-02T11:24:34.121" v="1974"/>
          <ac:picMkLst>
            <pc:docMk/>
            <pc:sldMk cId="3471618729" sldId="1885"/>
            <ac:picMk id="273" creationId="{F8D47981-55B9-428B-BECC-8B89E7893E4F}"/>
          </ac:picMkLst>
        </pc:pic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53" creationId="{7A8E4E85-7FB5-4817-B369-410D86C755D4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54" creationId="{268D1009-4307-466B-8F17-4E80DEE5EB6E}"/>
          </ac:cxnSpMkLst>
        </pc:cxnChg>
        <pc:cxnChg chg="del mod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5" creationId="{BD82E912-1E00-4DE2-97F6-30A24D1F25B1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6" creationId="{A6F4BF33-5225-450D-927C-7940B48BC4CF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7" creationId="{1B8BBAF3-1F56-47F4-9C52-A8F5660B4B95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8" creationId="{1E866CE4-AFE8-4516-96DE-DECC60FDF8A9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9" creationId="{92E9BE1B-7FE9-405F-AC51-44A9F0C8BA4F}"/>
          </ac:cxnSpMkLst>
        </pc:cxnChg>
        <pc:cxnChg chg="del mod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53" creationId="{847535EE-AF1B-41B6-BD64-0C75DCD84CC5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63" creationId="{1736C94A-D805-4578-8C47-EE3F60CF45DC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166" creationId="{15B46A04-3621-4310-B0E1-0D52B0713858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67" creationId="{E36086C7-0C8B-4870-93F7-1CFEDF3D66C3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169" creationId="{6847B7D1-2BA7-41ED-9F83-F48A45D15BA7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185" creationId="{98AC8C0D-DC4E-418F-9835-4D75115E487A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1" creationId="{DE4C24EB-DCCD-46F8-8A4C-B194A923741D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2" creationId="{AA7B7D6F-3B7E-46B1-9686-48E2509D6352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3" creationId="{303E9029-72B0-4A9D-8810-3A09B49E9137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4" creationId="{0831E5F1-BF93-47A7-9FCA-355022A895B3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5" creationId="{273F52C6-F86E-4C99-9D4C-14FC4C486DF3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69" creationId="{FA5B3583-4869-485D-A81D-DBBB4A2AA081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76" creationId="{82D339C9-9CF3-4CA0-A6D1-9C78501AE14A}"/>
          </ac:cxnSpMkLst>
        </pc:cxnChg>
      </pc:sldChg>
      <pc:sldChg chg="modSp add">
        <pc:chgData name="Shirley Wang (IM)" userId="da4880b3-bd35-4b71-94a0-d7a6fca1a050" providerId="ADAL" clId="{52576289-1F62-427F-B1D6-E2061BDF85A7}" dt="2018-11-23T03:42:02.726" v="1692" actId="108"/>
        <pc:sldMkLst>
          <pc:docMk/>
          <pc:sldMk cId="3191185065" sldId="1890"/>
        </pc:sldMkLst>
        <pc:spChg chg="mod">
          <ac:chgData name="Shirley Wang (IM)" userId="da4880b3-bd35-4b71-94a0-d7a6fca1a050" providerId="ADAL" clId="{52576289-1F62-427F-B1D6-E2061BDF85A7}" dt="2018-11-23T03:42:02.726" v="1692" actId="108"/>
          <ac:spMkLst>
            <pc:docMk/>
            <pc:sldMk cId="3191185065" sldId="1890"/>
            <ac:spMk id="42" creationId="{F9139A97-F0F2-4E22-9D53-9AA8054E57E2}"/>
          </ac:spMkLst>
        </pc:spChg>
      </pc:sldChg>
      <pc:sldChg chg="modSp add ord modAnim">
        <pc:chgData name="Shirley Wang (IM)" userId="da4880b3-bd35-4b71-94a0-d7a6fca1a050" providerId="ADAL" clId="{52576289-1F62-427F-B1D6-E2061BDF85A7}" dt="2018-12-02T11:25:45.564" v="1982"/>
        <pc:sldMkLst>
          <pc:docMk/>
          <pc:sldMk cId="1815617866" sldId="4342"/>
        </pc:sldMkLst>
        <pc:spChg chg="mod">
          <ac:chgData name="Shirley Wang (IM)" userId="da4880b3-bd35-4b71-94a0-d7a6fca1a050" providerId="ADAL" clId="{52576289-1F62-427F-B1D6-E2061BDF85A7}" dt="2018-11-23T03:41:24.148" v="1688" actId="108"/>
          <ac:spMkLst>
            <pc:docMk/>
            <pc:sldMk cId="1815617866" sldId="4342"/>
            <ac:spMk id="2" creationId="{D763B91A-3179-407A-9D4D-722EAFFD2190}"/>
          </ac:spMkLst>
        </pc:spChg>
        <pc:spChg chg="mod">
          <ac:chgData name="Shirley Wang (IM)" userId="da4880b3-bd35-4b71-94a0-d7a6fca1a050" providerId="ADAL" clId="{52576289-1F62-427F-B1D6-E2061BDF85A7}" dt="2018-11-23T04:13:00.277" v="1830" actId="108"/>
          <ac:spMkLst>
            <pc:docMk/>
            <pc:sldMk cId="1815617866" sldId="4342"/>
            <ac:spMk id="24" creationId="{1462EE93-1AFD-415C-A129-89B84B27836F}"/>
          </ac:spMkLst>
        </pc:spChg>
      </pc:sldChg>
      <pc:sldChg chg="modSp add">
        <pc:chgData name="Shirley Wang (IM)" userId="da4880b3-bd35-4b71-94a0-d7a6fca1a050" providerId="ADAL" clId="{52576289-1F62-427F-B1D6-E2061BDF85A7}" dt="2018-11-23T03:42:19.544" v="1695" actId="108"/>
        <pc:sldMkLst>
          <pc:docMk/>
          <pc:sldMk cId="1178330709" sldId="4344"/>
        </pc:sldMkLst>
        <pc:spChg chg="mod">
          <ac:chgData name="Shirley Wang (IM)" userId="da4880b3-bd35-4b71-94a0-d7a6fca1a050" providerId="ADAL" clId="{52576289-1F62-427F-B1D6-E2061BDF85A7}" dt="2018-11-23T03:42:19.544" v="1695" actId="108"/>
          <ac:spMkLst>
            <pc:docMk/>
            <pc:sldMk cId="1178330709" sldId="4344"/>
            <ac:spMk id="38" creationId="{CF26B265-9834-4B81-80EB-16C9BBDDACA3}"/>
          </ac:spMkLst>
        </pc:spChg>
      </pc:sldChg>
      <pc:sldChg chg="modSp add ord">
        <pc:chgData name="Shirley Wang (IM)" userId="da4880b3-bd35-4b71-94a0-d7a6fca1a050" providerId="ADAL" clId="{52576289-1F62-427F-B1D6-E2061BDF85A7}" dt="2018-11-19T10:11:29.775" v="232" actId="20577"/>
        <pc:sldMkLst>
          <pc:docMk/>
          <pc:sldMk cId="3561985167" sldId="4345"/>
        </pc:sldMkLst>
        <pc:spChg chg="mod">
          <ac:chgData name="Shirley Wang (IM)" userId="da4880b3-bd35-4b71-94a0-d7a6fca1a050" providerId="ADAL" clId="{52576289-1F62-427F-B1D6-E2061BDF85A7}" dt="2018-11-19T10:11:29.775" v="232" actId="20577"/>
          <ac:spMkLst>
            <pc:docMk/>
            <pc:sldMk cId="3561985167" sldId="4345"/>
            <ac:spMk id="2" creationId="{6F0A0392-90B2-43B0-9421-F28609BA8F93}"/>
          </ac:spMkLst>
        </pc:spChg>
      </pc:sldChg>
      <pc:sldChg chg="addSp delSp modSp add">
        <pc:chgData name="Shirley Wang (IM)" userId="da4880b3-bd35-4b71-94a0-d7a6fca1a050" providerId="ADAL" clId="{52576289-1F62-427F-B1D6-E2061BDF85A7}" dt="2018-11-26T03:13:16.334" v="1906" actId="1076"/>
        <pc:sldMkLst>
          <pc:docMk/>
          <pc:sldMk cId="144478964" sldId="4346"/>
        </pc:sldMkLst>
        <pc:spChg chg="mod">
          <ac:chgData name="Shirley Wang (IM)" userId="da4880b3-bd35-4b71-94a0-d7a6fca1a050" providerId="ADAL" clId="{52576289-1F62-427F-B1D6-E2061BDF85A7}" dt="2018-11-26T03:13:01.833" v="1886" actId="1035"/>
          <ac:spMkLst>
            <pc:docMk/>
            <pc:sldMk cId="144478964" sldId="4346"/>
            <ac:spMk id="2" creationId="{B9AE982C-1ED2-4F3F-B8A0-ADC970D0D2DD}"/>
          </ac:spMkLst>
        </pc:spChg>
        <pc:spChg chg="add mod">
          <ac:chgData name="Shirley Wang (IM)" userId="da4880b3-bd35-4b71-94a0-d7a6fca1a050" providerId="ADAL" clId="{52576289-1F62-427F-B1D6-E2061BDF85A7}" dt="2018-11-26T03:13:16.334" v="1906" actId="1076"/>
          <ac:spMkLst>
            <pc:docMk/>
            <pc:sldMk cId="144478964" sldId="4346"/>
            <ac:spMk id="3" creationId="{989A9178-F233-4162-A58E-95D61A841663}"/>
          </ac:spMkLst>
        </pc:spChg>
        <pc:spChg chg="mod">
          <ac:chgData name="Shirley Wang (IM)" userId="da4880b3-bd35-4b71-94a0-d7a6fca1a050" providerId="ADAL" clId="{52576289-1F62-427F-B1D6-E2061BDF85A7}" dt="2018-11-23T03:44:07.549" v="1705" actId="108"/>
          <ac:spMkLst>
            <pc:docMk/>
            <pc:sldMk cId="144478964" sldId="4346"/>
            <ac:spMk id="113" creationId="{84835B3A-DD8E-43CC-93E1-30DC89865412}"/>
          </ac:spMkLst>
        </pc:spChg>
        <pc:picChg chg="mod">
          <ac:chgData name="Shirley Wang (IM)" userId="da4880b3-bd35-4b71-94a0-d7a6fca1a050" providerId="ADAL" clId="{52576289-1F62-427F-B1D6-E2061BDF85A7}" dt="2018-11-26T03:13:07.428" v="1905" actId="1035"/>
          <ac:picMkLst>
            <pc:docMk/>
            <pc:sldMk cId="144478964" sldId="4346"/>
            <ac:picMk id="4" creationId="{366BD3FD-93DB-4E03-9253-0A00491CCDF6}"/>
          </ac:picMkLst>
        </pc:picChg>
        <pc:picChg chg="del">
          <ac:chgData name="Shirley Wang (IM)" userId="da4880b3-bd35-4b71-94a0-d7a6fca1a050" providerId="ADAL" clId="{52576289-1F62-427F-B1D6-E2061BDF85A7}" dt="2018-11-19T12:21:06.695" v="776" actId="478"/>
          <ac:picMkLst>
            <pc:docMk/>
            <pc:sldMk cId="144478964" sldId="4346"/>
            <ac:picMk id="7" creationId="{BFAA97A7-7B5B-4D1F-BE23-F422D088DA03}"/>
          </ac:picMkLst>
        </pc:picChg>
      </pc:sldChg>
      <pc:sldChg chg="modSp add ord">
        <pc:chgData name="Shirley Wang (IM)" userId="da4880b3-bd35-4b71-94a0-d7a6fca1a050" providerId="ADAL" clId="{52576289-1F62-427F-B1D6-E2061BDF85A7}" dt="2018-11-19T10:20:50.287" v="346" actId="20577"/>
        <pc:sldMkLst>
          <pc:docMk/>
          <pc:sldMk cId="2583603511" sldId="4347"/>
        </pc:sldMkLst>
        <pc:spChg chg="mod">
          <ac:chgData name="Shirley Wang (IM)" userId="da4880b3-bd35-4b71-94a0-d7a6fca1a050" providerId="ADAL" clId="{52576289-1F62-427F-B1D6-E2061BDF85A7}" dt="2018-11-19T10:20:50.287" v="346" actId="20577"/>
          <ac:spMkLst>
            <pc:docMk/>
            <pc:sldMk cId="2583603511" sldId="4347"/>
            <ac:spMk id="2" creationId="{6F0A0392-90B2-43B0-9421-F28609BA8F93}"/>
          </ac:spMkLst>
        </pc:spChg>
      </pc:sldChg>
      <pc:sldChg chg="modSp add ord">
        <pc:chgData name="Shirley Wang (IM)" userId="da4880b3-bd35-4b71-94a0-d7a6fca1a050" providerId="ADAL" clId="{52576289-1F62-427F-B1D6-E2061BDF85A7}" dt="2018-12-02T11:20:56.593" v="1965"/>
        <pc:sldMkLst>
          <pc:docMk/>
          <pc:sldMk cId="2497857421" sldId="4348"/>
        </pc:sldMkLst>
        <pc:spChg chg="mod">
          <ac:chgData name="Shirley Wang (IM)" userId="da4880b3-bd35-4b71-94a0-d7a6fca1a050" providerId="ADAL" clId="{52576289-1F62-427F-B1D6-E2061BDF85A7}" dt="2018-12-02T11:19:58.263" v="1944" actId="20577"/>
          <ac:spMkLst>
            <pc:docMk/>
            <pc:sldMk cId="2497857421" sldId="4348"/>
            <ac:spMk id="2" creationId="{6F0A0392-90B2-43B0-9421-F28609BA8F93}"/>
          </ac:spMkLst>
        </pc:spChg>
      </pc:sldChg>
      <pc:sldChg chg="addSp delSp modSp add ord">
        <pc:chgData name="Shirley Wang (IM)" userId="da4880b3-bd35-4b71-94a0-d7a6fca1a050" providerId="ADAL" clId="{52576289-1F62-427F-B1D6-E2061BDF85A7}" dt="2018-12-02T11:20:52.104" v="1964"/>
        <pc:sldMkLst>
          <pc:docMk/>
          <pc:sldMk cId="2656214044" sldId="4350"/>
        </pc:sldMkLst>
        <pc:spChg chg="del">
          <ac:chgData name="Shirley Wang (IM)" userId="da4880b3-bd35-4b71-94a0-d7a6fca1a050" providerId="ADAL" clId="{52576289-1F62-427F-B1D6-E2061BDF85A7}" dt="2018-11-23T03:04:30.432" v="1430" actId="478"/>
          <ac:spMkLst>
            <pc:docMk/>
            <pc:sldMk cId="2656214044" sldId="4350"/>
            <ac:spMk id="2" creationId="{D4C5F8BA-DD9D-4376-8509-72FC89781EE0}"/>
          </ac:spMkLst>
        </pc:spChg>
        <pc:spChg chg="add del mod">
          <ac:chgData name="Shirley Wang (IM)" userId="da4880b3-bd35-4b71-94a0-d7a6fca1a050" providerId="ADAL" clId="{52576289-1F62-427F-B1D6-E2061BDF85A7}" dt="2018-11-23T03:04:32.390" v="1431" actId="478"/>
          <ac:spMkLst>
            <pc:docMk/>
            <pc:sldMk cId="2656214044" sldId="4350"/>
            <ac:spMk id="4" creationId="{5DA87F54-5019-4522-A5B3-98E4ADC325A3}"/>
          </ac:spMkLst>
        </pc:spChg>
        <pc:spChg chg="add mod ord">
          <ac:chgData name="Shirley Wang (IM)" userId="da4880b3-bd35-4b71-94a0-d7a6fca1a050" providerId="ADAL" clId="{52576289-1F62-427F-B1D6-E2061BDF85A7}" dt="2018-11-23T03:29:35.481" v="1569" actId="1076"/>
          <ac:spMkLst>
            <pc:docMk/>
            <pc:sldMk cId="2656214044" sldId="4350"/>
            <ac:spMk id="5" creationId="{53979888-81B7-4B5F-B4B5-70ED2543E769}"/>
          </ac:spMkLst>
        </pc:spChg>
        <pc:spChg chg="add mod">
          <ac:chgData name="Shirley Wang (IM)" userId="da4880b3-bd35-4b71-94a0-d7a6fca1a050" providerId="ADAL" clId="{52576289-1F62-427F-B1D6-E2061BDF85A7}" dt="2018-11-23T03:22:58.618" v="1542" actId="1036"/>
          <ac:spMkLst>
            <pc:docMk/>
            <pc:sldMk cId="2656214044" sldId="4350"/>
            <ac:spMk id="6" creationId="{FF386409-3525-4A1A-8A60-22C3A15446D2}"/>
          </ac:spMkLst>
        </pc:spChg>
        <pc:spChg chg="add mod">
          <ac:chgData name="Shirley Wang (IM)" userId="da4880b3-bd35-4b71-94a0-d7a6fca1a050" providerId="ADAL" clId="{52576289-1F62-427F-B1D6-E2061BDF85A7}" dt="2018-11-23T03:22:58.618" v="1542" actId="1036"/>
          <ac:spMkLst>
            <pc:docMk/>
            <pc:sldMk cId="2656214044" sldId="4350"/>
            <ac:spMk id="9" creationId="{6999E0C9-4433-4A50-8A4E-7209A3B5C0D0}"/>
          </ac:spMkLst>
        </pc:spChg>
        <pc:spChg chg="add mod">
          <ac:chgData name="Shirley Wang (IM)" userId="da4880b3-bd35-4b71-94a0-d7a6fca1a050" providerId="ADAL" clId="{52576289-1F62-427F-B1D6-E2061BDF85A7}" dt="2018-11-23T03:35:36.873" v="1634" actId="1037"/>
          <ac:spMkLst>
            <pc:docMk/>
            <pc:sldMk cId="2656214044" sldId="4350"/>
            <ac:spMk id="10" creationId="{DB970C6A-290F-4DC8-A566-07CEF14CA583}"/>
          </ac:spMkLst>
        </pc:spChg>
        <pc:spChg chg="add mod">
          <ac:chgData name="Shirley Wang (IM)" userId="da4880b3-bd35-4b71-94a0-d7a6fca1a050" providerId="ADAL" clId="{52576289-1F62-427F-B1D6-E2061BDF85A7}" dt="2018-11-23T03:35:23.224" v="1623" actId="1037"/>
          <ac:spMkLst>
            <pc:docMk/>
            <pc:sldMk cId="2656214044" sldId="4350"/>
            <ac:spMk id="11" creationId="{9F1F6C7D-7539-41BF-B4D6-7A3C64CF49EC}"/>
          </ac:spMkLst>
        </pc:spChg>
        <pc:spChg chg="add mod">
          <ac:chgData name="Shirley Wang (IM)" userId="da4880b3-bd35-4b71-94a0-d7a6fca1a050" providerId="ADAL" clId="{52576289-1F62-427F-B1D6-E2061BDF85A7}" dt="2018-11-23T03:35:55.096" v="1659" actId="1037"/>
          <ac:spMkLst>
            <pc:docMk/>
            <pc:sldMk cId="2656214044" sldId="4350"/>
            <ac:spMk id="12" creationId="{592E7519-6B05-4CC4-97DB-961EFC2CF276}"/>
          </ac:spMkLst>
        </pc:spChg>
        <pc:spChg chg="add mod">
          <ac:chgData name="Shirley Wang (IM)" userId="da4880b3-bd35-4b71-94a0-d7a6fca1a050" providerId="ADAL" clId="{52576289-1F62-427F-B1D6-E2061BDF85A7}" dt="2018-11-23T03:35:49.201" v="1645" actId="1037"/>
          <ac:spMkLst>
            <pc:docMk/>
            <pc:sldMk cId="2656214044" sldId="4350"/>
            <ac:spMk id="13" creationId="{9F116311-80A8-43A5-A363-EF155F37B0E7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4" creationId="{54AF1ABF-B4F8-425A-93D4-D11F300E0ED0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5" creationId="{01CF7133-F172-4661-AEEE-8805F3F81D3F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6" creationId="{FCA1E9BB-3F5E-4564-9BD8-1933156F7C00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7" creationId="{B57DF84E-BA03-496C-8F32-6B15421F7E7F}"/>
          </ac:spMkLst>
        </pc:spChg>
        <pc:picChg chg="add del mod">
          <ac:chgData name="Shirley Wang (IM)" userId="da4880b3-bd35-4b71-94a0-d7a6fca1a050" providerId="ADAL" clId="{52576289-1F62-427F-B1D6-E2061BDF85A7}" dt="2018-11-23T03:06:26.019" v="1448" actId="478"/>
          <ac:picMkLst>
            <pc:docMk/>
            <pc:sldMk cId="2656214044" sldId="4350"/>
            <ac:picMk id="7" creationId="{EEDFFFA1-1535-47EB-A3D8-0C0166E7E0B6}"/>
          </ac:picMkLst>
        </pc:picChg>
        <pc:picChg chg="add mod">
          <ac:chgData name="Shirley Wang (IM)" userId="da4880b3-bd35-4b71-94a0-d7a6fca1a050" providerId="ADAL" clId="{52576289-1F62-427F-B1D6-E2061BDF85A7}" dt="2018-11-23T03:22:58.618" v="1542" actId="1036"/>
          <ac:picMkLst>
            <pc:docMk/>
            <pc:sldMk cId="2656214044" sldId="4350"/>
            <ac:picMk id="8" creationId="{B4157E4E-DB31-4304-97F9-4235A47F50D6}"/>
          </ac:picMkLst>
        </pc:picChg>
        <pc:picChg chg="add mod">
          <ac:chgData name="Shirley Wang (IM)" userId="da4880b3-bd35-4b71-94a0-d7a6fca1a050" providerId="ADAL" clId="{52576289-1F62-427F-B1D6-E2061BDF85A7}" dt="2018-11-23T03:35:23.224" v="1623" actId="1037"/>
          <ac:picMkLst>
            <pc:docMk/>
            <pc:sldMk cId="2656214044" sldId="4350"/>
            <ac:picMk id="19" creationId="{B7024731-9B99-423C-ADB1-98AE44521231}"/>
          </ac:picMkLst>
        </pc:picChg>
        <pc:picChg chg="add mod">
          <ac:chgData name="Shirley Wang (IM)" userId="da4880b3-bd35-4b71-94a0-d7a6fca1a050" providerId="ADAL" clId="{52576289-1F62-427F-B1D6-E2061BDF85A7}" dt="2018-11-23T03:35:36.873" v="1634" actId="1037"/>
          <ac:picMkLst>
            <pc:docMk/>
            <pc:sldMk cId="2656214044" sldId="4350"/>
            <ac:picMk id="21" creationId="{3D2A56B4-AD9C-4AD5-A492-578A473DB1B0}"/>
          </ac:picMkLst>
        </pc:picChg>
        <pc:picChg chg="add del mod">
          <ac:chgData name="Shirley Wang (IM)" userId="da4880b3-bd35-4b71-94a0-d7a6fca1a050" providerId="ADAL" clId="{52576289-1F62-427F-B1D6-E2061BDF85A7}" dt="2018-11-23T03:21:23.364" v="1521" actId="478"/>
          <ac:picMkLst>
            <pc:docMk/>
            <pc:sldMk cId="2656214044" sldId="4350"/>
            <ac:picMk id="23" creationId="{B816A0B4-B7CE-490C-AA28-0EDAC88B3F02}"/>
          </ac:picMkLst>
        </pc:picChg>
        <pc:picChg chg="add mod">
          <ac:chgData name="Shirley Wang (IM)" userId="da4880b3-bd35-4b71-94a0-d7a6fca1a050" providerId="ADAL" clId="{52576289-1F62-427F-B1D6-E2061BDF85A7}" dt="2018-11-23T03:34:51.943" v="1616" actId="408"/>
          <ac:picMkLst>
            <pc:docMk/>
            <pc:sldMk cId="2656214044" sldId="4350"/>
            <ac:picMk id="25" creationId="{F133A09A-CDB5-48E6-B946-9176594272C7}"/>
          </ac:picMkLst>
        </pc:picChg>
        <pc:picChg chg="add mod">
          <ac:chgData name="Shirley Wang (IM)" userId="da4880b3-bd35-4b71-94a0-d7a6fca1a050" providerId="ADAL" clId="{52576289-1F62-427F-B1D6-E2061BDF85A7}" dt="2018-11-23T03:34:51.943" v="1616" actId="408"/>
          <ac:picMkLst>
            <pc:docMk/>
            <pc:sldMk cId="2656214044" sldId="4350"/>
            <ac:picMk id="27" creationId="{E2363892-779D-4074-90B0-4E9A77A5C4B6}"/>
          </ac:picMkLst>
        </pc:picChg>
      </pc:sldChg>
      <pc:sldChg chg="addSp delSp modSp add">
        <pc:chgData name="Shirley Wang (IM)" userId="da4880b3-bd35-4b71-94a0-d7a6fca1a050" providerId="ADAL" clId="{52576289-1F62-427F-B1D6-E2061BDF85A7}" dt="2018-12-02T11:25:29.332" v="1979" actId="478"/>
        <pc:sldMkLst>
          <pc:docMk/>
          <pc:sldMk cId="764790800" sldId="4351"/>
        </pc:sldMkLst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5" creationId="{AAB7AB2E-9D5C-4788-B2F4-EE700A0388EF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6" creationId="{8B791EFB-96A9-4E66-ACEC-C194A559409A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7" creationId="{38449F09-C938-4C36-91F1-0E86A9B3417A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0" creationId="{1DCE89DA-0FB9-4094-AC69-A37A7F5B3240}"/>
          </ac:spMkLst>
        </pc:spChg>
        <pc:spChg chg="add del">
          <ac:chgData name="Shirley Wang (IM)" userId="da4880b3-bd35-4b71-94a0-d7a6fca1a050" providerId="ADAL" clId="{52576289-1F62-427F-B1D6-E2061BDF85A7}" dt="2018-12-02T11:25:29.332" v="1979" actId="478"/>
          <ac:spMkLst>
            <pc:docMk/>
            <pc:sldMk cId="764790800" sldId="4351"/>
            <ac:spMk id="11" creationId="{8599B32A-E0C9-4676-B074-E98552E3EE5B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2" creationId="{F6FE07D9-C13C-4DE2-8538-EF180B5821AF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3" creationId="{434252A1-28FB-4074-B493-D608E904E0A0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4" creationId="{A4D9C763-FE96-4705-BBA1-754982D1464A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71" creationId="{643E2A7F-6E30-4334-AC9D-4359271E42A6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3" creationId="{04401A94-2B95-4788-A3F9-5C6010700C84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4" creationId="{FFC45EA7-11FE-454D-BB8B-376CDA1CE5FB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5" creationId="{04404849-2604-463D-8192-3E4BD6AEE1DF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6" creationId="{FD68BDF6-CA54-4CAA-829E-B0A404874D92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7" creationId="{2E11F27E-562A-4641-8F70-0AFF53915489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9" creationId="{97732004-1A4C-4443-8298-8E71973144A3}"/>
          </ac:spMkLst>
        </pc:spChg>
        <pc:spChg chg="add del">
          <ac:chgData name="Shirley Wang (IM)" userId="da4880b3-bd35-4b71-94a0-d7a6fca1a050" providerId="ADAL" clId="{52576289-1F62-427F-B1D6-E2061BDF85A7}" dt="2018-12-02T11:24:58.744" v="1978" actId="478"/>
          <ac:spMkLst>
            <pc:docMk/>
            <pc:sldMk cId="764790800" sldId="4351"/>
            <ac:spMk id="90" creationId="{83E8CD5A-4B0D-4E69-9FBB-8D2CA97C1735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91" creationId="{BC3D513F-7288-44F9-9294-3F4973BA45DD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93" creationId="{E3A241F0-21B9-47D7-A79F-A9E535EF3FC4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94" creationId="{C2DAE59F-3BF7-4734-B94A-367F6C742DC4}"/>
          </ac:spMkLst>
        </pc:spChg>
        <pc:spChg chg="mod">
          <ac:chgData name="Shirley Wang (IM)" userId="da4880b3-bd35-4b71-94a0-d7a6fca1a050" providerId="ADAL" clId="{52576289-1F62-427F-B1D6-E2061BDF85A7}" dt="2018-12-02T11:24:23.230" v="1972" actId="6549"/>
          <ac:spMkLst>
            <pc:docMk/>
            <pc:sldMk cId="764790800" sldId="4351"/>
            <ac:spMk id="159" creationId="{2D38ADE1-09D7-46ED-B830-3122B0EDF1CA}"/>
          </ac:spMkLst>
        </pc:s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15" creationId="{3AABF78C-A11E-4DD9-9A98-C1CD78CA4978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29" creationId="{8A03717A-8594-4713-8DE5-8B6A85722A08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45" creationId="{652EE3C2-464C-4F61-977A-EC4E06D2032C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54" creationId="{EE10FCD9-CF09-409D-9494-7D6E20EBC8EE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65" creationId="{E6E34673-8320-494E-9355-5D7373268EB5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72" creationId="{05896833-F843-4227-902F-1FC1F976B229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80" creationId="{1D6A1725-95CF-4A8E-A877-93FC73849533}"/>
          </ac:grpSpMkLst>
        </pc:grpChg>
        <pc:picChg chg="add">
          <ac:chgData name="Shirley Wang (IM)" userId="da4880b3-bd35-4b71-94a0-d7a6fca1a050" providerId="ADAL" clId="{52576289-1F62-427F-B1D6-E2061BDF85A7}" dt="2018-12-02T11:24:50.488" v="1976"/>
          <ac:picMkLst>
            <pc:docMk/>
            <pc:sldMk cId="764790800" sldId="4351"/>
            <ac:picMk id="95" creationId="{AB9145F5-7D05-4400-9F36-3F7C247695FA}"/>
          </ac:picMkLst>
        </pc:picChg>
        <pc:picChg chg="add">
          <ac:chgData name="Shirley Wang (IM)" userId="da4880b3-bd35-4b71-94a0-d7a6fca1a050" providerId="ADAL" clId="{52576289-1F62-427F-B1D6-E2061BDF85A7}" dt="2018-12-02T11:24:50.488" v="1976"/>
          <ac:picMkLst>
            <pc:docMk/>
            <pc:sldMk cId="764790800" sldId="4351"/>
            <ac:picMk id="96" creationId="{CE912937-96B4-4814-9B0F-2C9EDB8782DC}"/>
          </ac:picMkLst>
        </pc:pic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8" creationId="{424C9B85-10B5-4EAF-8EAB-5F4CEB20D66E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9" creationId="{2DB4AB5D-B77D-463B-8BE8-7367184C8FFC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0" creationId="{289C201B-BDD0-47C1-A002-032C88B051C8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1" creationId="{A0953159-B614-4014-B2A8-F3BCF6E1604B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2" creationId="{AFFB9E69-706A-487E-8726-27C8E5CCB939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3" creationId="{AC628E4C-A7AD-46A7-ADF3-DA9942BCCA03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4" creationId="{664EEE28-2950-4FEC-B238-E9A347F8183C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88" creationId="{811BF68E-FF3D-4C95-998C-25D2EADFC370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92" creationId="{B9F6B9FF-73C3-4C67-A907-49C11078F9AF}"/>
          </ac:cxnSpMkLst>
        </pc:cxnChg>
      </pc:sldChg>
      <pc:sldMasterChg chg="delSldLayout">
        <pc:chgData name="Shirley Wang (IM)" userId="da4880b3-bd35-4b71-94a0-d7a6fca1a050" providerId="ADAL" clId="{52576289-1F62-427F-B1D6-E2061BDF85A7}" dt="2018-11-19T10:36:15.924" v="656" actId="2696"/>
        <pc:sldMasterMkLst>
          <pc:docMk/>
          <pc:sldMasterMk cId="1090558875" sldId="2147483714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A1EE25-B261-40F1-81DC-C22CA2FC3D9C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B4578D-97F1-4707-8C41-133C28C5E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963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2/4/2019 7:1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911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084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CD80A-2C6F-4E39-942E-4436C667F5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891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6310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2064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1200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1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15096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Build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0262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0074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8305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1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700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69BD2-67F6-43A1-A2DB-9D24960C08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0042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96E846-FBBA-46E2-AEC6-4A01A340372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0148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2771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1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2353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2/4/2019 7:1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5426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6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46289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A17D118-1690-458F-B4D2-F9DA5D6F5033}" type="datetime8">
              <a:rPr lang="en-US" smtClean="0">
                <a:solidFill>
                  <a:prstClr val="black"/>
                </a:solidFill>
              </a:rPr>
              <a:pPr/>
              <a:t>2/4/2019 7:11 PM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66786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69BD2-67F6-43A1-A2DB-9D24960C08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910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7491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8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4306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162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 7:11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5208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7954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pn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5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5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4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7.png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2095308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85824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3954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89160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976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68436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8833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2910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20396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1707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47413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864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97689522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0888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22929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20772" y="2291365"/>
            <a:ext cx="10249783" cy="1009695"/>
            <a:chOff x="1041241" y="2198265"/>
            <a:chExt cx="10455312" cy="1029795"/>
          </a:xfrm>
        </p:grpSpPr>
        <p:sp>
          <p:nvSpPr>
            <p:cNvPr id="3" name="laptop"/>
            <p:cNvSpPr>
              <a:spLocks noChangeAspect="1" noEditPoints="1"/>
            </p:cNvSpPr>
            <p:nvPr userDrawn="1"/>
          </p:nvSpPr>
          <p:spPr bwMode="auto">
            <a:xfrm>
              <a:off x="9891754" y="2198265"/>
              <a:ext cx="1417556" cy="843914"/>
            </a:xfrm>
            <a:custGeom>
              <a:avLst/>
              <a:gdLst>
                <a:gd name="T0" fmla="*/ 212 w 257"/>
                <a:gd name="T1" fmla="*/ 107 h 153"/>
                <a:gd name="T2" fmla="*/ 43 w 257"/>
                <a:gd name="T3" fmla="*/ 107 h 153"/>
                <a:gd name="T4" fmla="*/ 43 w 257"/>
                <a:gd name="T5" fmla="*/ 0 h 153"/>
                <a:gd name="T6" fmla="*/ 212 w 257"/>
                <a:gd name="T7" fmla="*/ 0 h 153"/>
                <a:gd name="T8" fmla="*/ 212 w 257"/>
                <a:gd name="T9" fmla="*/ 107 h 153"/>
                <a:gd name="T10" fmla="*/ 43 w 257"/>
                <a:gd name="T11" fmla="*/ 107 h 153"/>
                <a:gd name="T12" fmla="*/ 0 w 257"/>
                <a:gd name="T13" fmla="*/ 153 h 153"/>
                <a:gd name="T14" fmla="*/ 257 w 257"/>
                <a:gd name="T15" fmla="*/ 153 h 153"/>
                <a:gd name="T16" fmla="*/ 212 w 257"/>
                <a:gd name="T17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53">
                  <a:moveTo>
                    <a:pt x="212" y="107"/>
                  </a:moveTo>
                  <a:lnTo>
                    <a:pt x="43" y="107"/>
                  </a:lnTo>
                  <a:lnTo>
                    <a:pt x="43" y="0"/>
                  </a:lnTo>
                  <a:lnTo>
                    <a:pt x="212" y="0"/>
                  </a:lnTo>
                  <a:lnTo>
                    <a:pt x="212" y="107"/>
                  </a:lnTo>
                  <a:moveTo>
                    <a:pt x="43" y="107"/>
                  </a:moveTo>
                  <a:lnTo>
                    <a:pt x="0" y="153"/>
                  </a:lnTo>
                  <a:lnTo>
                    <a:pt x="257" y="153"/>
                  </a:lnTo>
                  <a:lnTo>
                    <a:pt x="212" y="10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" name="phone"/>
            <p:cNvSpPr>
              <a:spLocks noChangeAspect="1" noEditPoints="1"/>
            </p:cNvSpPr>
            <p:nvPr userDrawn="1"/>
          </p:nvSpPr>
          <p:spPr bwMode="auto">
            <a:xfrm>
              <a:off x="4177456" y="2253648"/>
              <a:ext cx="473065" cy="757539"/>
            </a:xfrm>
            <a:custGeom>
              <a:avLst/>
              <a:gdLst>
                <a:gd name="T0" fmla="*/ 148 w 148"/>
                <a:gd name="T1" fmla="*/ 112 h 237"/>
                <a:gd name="T2" fmla="*/ 148 w 148"/>
                <a:gd name="T3" fmla="*/ 237 h 237"/>
                <a:gd name="T4" fmla="*/ 0 w 148"/>
                <a:gd name="T5" fmla="*/ 237 h 237"/>
                <a:gd name="T6" fmla="*/ 0 w 148"/>
                <a:gd name="T7" fmla="*/ 0 h 237"/>
                <a:gd name="T8" fmla="*/ 148 w 148"/>
                <a:gd name="T9" fmla="*/ 0 h 237"/>
                <a:gd name="T10" fmla="*/ 148 w 148"/>
                <a:gd name="T11" fmla="*/ 112 h 237"/>
                <a:gd name="T12" fmla="*/ 0 w 148"/>
                <a:gd name="T13" fmla="*/ 29 h 237"/>
                <a:gd name="T14" fmla="*/ 148 w 148"/>
                <a:gd name="T15" fmla="*/ 29 h 237"/>
                <a:gd name="T16" fmla="*/ 0 w 148"/>
                <a:gd name="T17" fmla="*/ 172 h 237"/>
                <a:gd name="T18" fmla="*/ 148 w 148"/>
                <a:gd name="T19" fmla="*/ 172 h 237"/>
                <a:gd name="T20" fmla="*/ 66 w 148"/>
                <a:gd name="T21" fmla="*/ 204 h 237"/>
                <a:gd name="T22" fmla="*/ 82 w 148"/>
                <a:gd name="T23" fmla="*/ 20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7">
                  <a:moveTo>
                    <a:pt x="148" y="112"/>
                  </a:moveTo>
                  <a:lnTo>
                    <a:pt x="148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12"/>
                  </a:lnTo>
                  <a:moveTo>
                    <a:pt x="0" y="29"/>
                  </a:moveTo>
                  <a:lnTo>
                    <a:pt x="148" y="29"/>
                  </a:lnTo>
                  <a:moveTo>
                    <a:pt x="0" y="172"/>
                  </a:moveTo>
                  <a:lnTo>
                    <a:pt x="148" y="172"/>
                  </a:lnTo>
                  <a:moveTo>
                    <a:pt x="66" y="204"/>
                  </a:moveTo>
                  <a:lnTo>
                    <a:pt x="82" y="20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tablet_2"/>
            <p:cNvSpPr>
              <a:spLocks noChangeAspect="1" noEditPoints="1"/>
            </p:cNvSpPr>
            <p:nvPr userDrawn="1"/>
          </p:nvSpPr>
          <p:spPr bwMode="auto">
            <a:xfrm>
              <a:off x="6815622" y="2222769"/>
              <a:ext cx="1118473" cy="819293"/>
            </a:xfrm>
            <a:custGeom>
              <a:avLst/>
              <a:gdLst>
                <a:gd name="T0" fmla="*/ 243 w 243"/>
                <a:gd name="T1" fmla="*/ 83 h 178"/>
                <a:gd name="T2" fmla="*/ 243 w 243"/>
                <a:gd name="T3" fmla="*/ 178 h 178"/>
                <a:gd name="T4" fmla="*/ 0 w 243"/>
                <a:gd name="T5" fmla="*/ 178 h 178"/>
                <a:gd name="T6" fmla="*/ 0 w 243"/>
                <a:gd name="T7" fmla="*/ 0 h 178"/>
                <a:gd name="T8" fmla="*/ 243 w 243"/>
                <a:gd name="T9" fmla="*/ 0 h 178"/>
                <a:gd name="T10" fmla="*/ 243 w 243"/>
                <a:gd name="T11" fmla="*/ 83 h 178"/>
                <a:gd name="T12" fmla="*/ 113 w 243"/>
                <a:gd name="T13" fmla="*/ 147 h 178"/>
                <a:gd name="T14" fmla="*/ 129 w 243"/>
                <a:gd name="T15" fmla="*/ 14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78">
                  <a:moveTo>
                    <a:pt x="243" y="83"/>
                  </a:moveTo>
                  <a:lnTo>
                    <a:pt x="24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83"/>
                  </a:lnTo>
                  <a:moveTo>
                    <a:pt x="113" y="147"/>
                  </a:moveTo>
                  <a:lnTo>
                    <a:pt x="129" y="14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camera"/>
            <p:cNvSpPr>
              <a:spLocks noChangeAspect="1" noEditPoints="1"/>
            </p:cNvSpPr>
            <p:nvPr userDrawn="1"/>
          </p:nvSpPr>
          <p:spPr bwMode="auto">
            <a:xfrm>
              <a:off x="1041241" y="2295852"/>
              <a:ext cx="842296" cy="673131"/>
            </a:xfrm>
            <a:custGeom>
              <a:avLst/>
              <a:gdLst>
                <a:gd name="T0" fmla="*/ 0 w 330"/>
                <a:gd name="T1" fmla="*/ 24 h 264"/>
                <a:gd name="T2" fmla="*/ 87 w 330"/>
                <a:gd name="T3" fmla="*/ 24 h 264"/>
                <a:gd name="T4" fmla="*/ 111 w 330"/>
                <a:gd name="T5" fmla="*/ 0 h 264"/>
                <a:gd name="T6" fmla="*/ 217 w 330"/>
                <a:gd name="T7" fmla="*/ 0 h 264"/>
                <a:gd name="T8" fmla="*/ 242 w 330"/>
                <a:gd name="T9" fmla="*/ 24 h 264"/>
                <a:gd name="T10" fmla="*/ 330 w 330"/>
                <a:gd name="T11" fmla="*/ 24 h 264"/>
                <a:gd name="T12" fmla="*/ 330 w 330"/>
                <a:gd name="T13" fmla="*/ 264 h 264"/>
                <a:gd name="T14" fmla="*/ 0 w 330"/>
                <a:gd name="T15" fmla="*/ 264 h 264"/>
                <a:gd name="T16" fmla="*/ 0 w 330"/>
                <a:gd name="T17" fmla="*/ 24 h 264"/>
                <a:gd name="T18" fmla="*/ 165 w 330"/>
                <a:gd name="T19" fmla="*/ 221 h 264"/>
                <a:gd name="T20" fmla="*/ 242 w 330"/>
                <a:gd name="T21" fmla="*/ 144 h 264"/>
                <a:gd name="T22" fmla="*/ 165 w 330"/>
                <a:gd name="T23" fmla="*/ 67 h 264"/>
                <a:gd name="T24" fmla="*/ 88 w 330"/>
                <a:gd name="T25" fmla="*/ 144 h 264"/>
                <a:gd name="T26" fmla="*/ 165 w 330"/>
                <a:gd name="T27" fmla="*/ 221 h 264"/>
                <a:gd name="T28" fmla="*/ 42 w 330"/>
                <a:gd name="T29" fmla="*/ 73 h 264"/>
                <a:gd name="T30" fmla="*/ 48 w 330"/>
                <a:gd name="T31" fmla="*/ 67 h 264"/>
                <a:gd name="T32" fmla="*/ 42 w 330"/>
                <a:gd name="T33" fmla="*/ 61 h 264"/>
                <a:gd name="T34" fmla="*/ 36 w 330"/>
                <a:gd name="T35" fmla="*/ 67 h 264"/>
                <a:gd name="T36" fmla="*/ 42 w 330"/>
                <a:gd name="T37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264">
                  <a:moveTo>
                    <a:pt x="0" y="24"/>
                  </a:moveTo>
                  <a:cubicBezTo>
                    <a:pt x="87" y="24"/>
                    <a:pt x="87" y="24"/>
                    <a:pt x="8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42" y="24"/>
                    <a:pt x="242" y="24"/>
                    <a:pt x="242" y="24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64"/>
                    <a:pt x="330" y="264"/>
                    <a:pt x="330" y="264"/>
                  </a:cubicBezTo>
                  <a:cubicBezTo>
                    <a:pt x="0" y="264"/>
                    <a:pt x="0" y="264"/>
                    <a:pt x="0" y="264"/>
                  </a:cubicBezTo>
                  <a:lnTo>
                    <a:pt x="0" y="24"/>
                  </a:lnTo>
                  <a:close/>
                  <a:moveTo>
                    <a:pt x="165" y="221"/>
                  </a:moveTo>
                  <a:cubicBezTo>
                    <a:pt x="208" y="221"/>
                    <a:pt x="242" y="187"/>
                    <a:pt x="242" y="144"/>
                  </a:cubicBezTo>
                  <a:cubicBezTo>
                    <a:pt x="242" y="101"/>
                    <a:pt x="208" y="67"/>
                    <a:pt x="165" y="67"/>
                  </a:cubicBezTo>
                  <a:cubicBezTo>
                    <a:pt x="123" y="67"/>
                    <a:pt x="88" y="101"/>
                    <a:pt x="88" y="144"/>
                  </a:cubicBezTo>
                  <a:cubicBezTo>
                    <a:pt x="88" y="187"/>
                    <a:pt x="123" y="221"/>
                    <a:pt x="165" y="221"/>
                  </a:cubicBezTo>
                  <a:close/>
                  <a:moveTo>
                    <a:pt x="42" y="73"/>
                  </a:moveTo>
                  <a:cubicBezTo>
                    <a:pt x="45" y="73"/>
                    <a:pt x="48" y="70"/>
                    <a:pt x="48" y="67"/>
                  </a:cubicBezTo>
                  <a:cubicBezTo>
                    <a:pt x="48" y="64"/>
                    <a:pt x="45" y="61"/>
                    <a:pt x="42" y="61"/>
                  </a:cubicBezTo>
                  <a:cubicBezTo>
                    <a:pt x="38" y="61"/>
                    <a:pt x="36" y="64"/>
                    <a:pt x="36" y="67"/>
                  </a:cubicBezTo>
                  <a:cubicBezTo>
                    <a:pt x="36" y="70"/>
                    <a:pt x="38" y="73"/>
                    <a:pt x="42" y="7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Multiplication Sign 8"/>
            <p:cNvSpPr/>
            <p:nvPr userDrawn="1"/>
          </p:nvSpPr>
          <p:spPr bwMode="auto">
            <a:xfrm>
              <a:off x="1654939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Multiplication Sign 9"/>
            <p:cNvSpPr/>
            <p:nvPr userDrawn="1"/>
          </p:nvSpPr>
          <p:spPr bwMode="auto">
            <a:xfrm>
              <a:off x="4406053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Multiplication Sign 10"/>
            <p:cNvSpPr/>
            <p:nvPr userDrawn="1"/>
          </p:nvSpPr>
          <p:spPr bwMode="auto">
            <a:xfrm>
              <a:off x="770332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Multiplication Sign 12"/>
            <p:cNvSpPr/>
            <p:nvPr userDrawn="1"/>
          </p:nvSpPr>
          <p:spPr bwMode="auto">
            <a:xfrm>
              <a:off x="1103935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629379" y="4403248"/>
            <a:ext cx="10933243" cy="2163685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</p:spTree>
    <p:extLst>
      <p:ext uri="{BB962C8B-B14F-4D97-AF65-F5344CB8AC3E}">
        <p14:creationId xmlns:p14="http://schemas.microsoft.com/office/powerpoint/2010/main" val="1833391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035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640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4061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8347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1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237240"/>
            <a:ext cx="12192000" cy="2441438"/>
          </a:xfrm>
          <a:prstGeom prst="rect">
            <a:avLst/>
          </a:prstGeom>
        </p:spPr>
        <p:txBody>
          <a:bodyPr lIns="182880" tIns="182880" rIns="182880" bIns="182880"/>
          <a:lstStyle>
            <a:lvl1pPr marL="0" indent="0">
              <a:spcBef>
                <a:spcPts val="1333"/>
              </a:spcBef>
              <a:buFont typeface="Arial"/>
              <a:buNone/>
              <a:defRPr sz="3200" baseline="0">
                <a:solidFill>
                  <a:schemeClr val="tx1"/>
                </a:solidFill>
                <a:latin typeface="Segoe UI Light"/>
                <a:cs typeface="Segoe UI Light"/>
              </a:defRPr>
            </a:lvl1pPr>
            <a:lvl2pPr marL="883729" indent="-457101">
              <a:spcBef>
                <a:spcPts val="1333"/>
              </a:spcBef>
              <a:buFont typeface="Arial" panose="020B0604020202020204" pitchFamily="34" charset="0"/>
              <a:buChar char="•"/>
              <a:defRPr sz="3200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1218935">
              <a:spcBef>
                <a:spcPts val="1333"/>
              </a:spcBef>
              <a:buFont typeface="Arial"/>
              <a:buChar char="•"/>
              <a:defRPr sz="2932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706509">
              <a:spcBef>
                <a:spcPts val="1333"/>
              </a:spcBef>
              <a:buFont typeface="Arial"/>
              <a:buChar char="•"/>
              <a:defRPr sz="2666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1950296" indent="243787">
              <a:spcBef>
                <a:spcPts val="1333"/>
              </a:spcBef>
              <a:buFont typeface="Arial"/>
              <a:buChar char="•"/>
              <a:tabLst>
                <a:tab pos="2135254" algn="l"/>
              </a:tabLst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1"/>
            <a:r>
              <a:rPr lang="en-US"/>
              <a:t>Bullet first level</a:t>
            </a:r>
          </a:p>
          <a:p>
            <a:pPr lvl="2"/>
            <a:r>
              <a:rPr lang="en-US"/>
              <a:t>Bullet second level</a:t>
            </a:r>
          </a:p>
          <a:p>
            <a:pPr lvl="3"/>
            <a:r>
              <a:rPr lang="en-US"/>
              <a:t>Bullet third level</a:t>
            </a:r>
          </a:p>
          <a:p>
            <a:pPr lvl="4"/>
            <a:r>
              <a:rPr lang="en-US"/>
              <a:t>Bullet fourth level</a:t>
            </a:r>
          </a:p>
        </p:txBody>
      </p:sp>
      <p:sp>
        <p:nvSpPr>
          <p:cNvPr id="20" name="Title 1"/>
          <p:cNvSpPr>
            <a:spLocks noGrp="1" noChangeAspect="1"/>
          </p:cNvSpPr>
          <p:nvPr>
            <p:ph type="title"/>
          </p:nvPr>
        </p:nvSpPr>
        <p:spPr>
          <a:xfrm>
            <a:off x="139021" y="-2"/>
            <a:ext cx="12052979" cy="1211893"/>
          </a:xfrm>
          <a:prstGeom prst="rect">
            <a:avLst/>
          </a:prstGeom>
        </p:spPr>
        <p:txBody>
          <a:bodyPr lIns="91440" tIns="91440" bIns="91440" anchor="ctr"/>
          <a:lstStyle>
            <a:lvl1pPr algn="l">
              <a:defRPr sz="5332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264777" y="6461377"/>
            <a:ext cx="1684867" cy="1674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243854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24" indent="0" algn="ctr">
              <a:buNone/>
              <a:defRPr sz="2000"/>
            </a:lvl2pPr>
            <a:lvl3pPr marL="914246" indent="0" algn="ctr">
              <a:buNone/>
              <a:defRPr sz="1800"/>
            </a:lvl3pPr>
            <a:lvl4pPr marL="1371370" indent="0" algn="ctr">
              <a:buNone/>
              <a:defRPr sz="1600"/>
            </a:lvl4pPr>
            <a:lvl5pPr marL="1828494" indent="0" algn="ctr">
              <a:buNone/>
              <a:defRPr sz="1600"/>
            </a:lvl5pPr>
            <a:lvl6pPr marL="2285617" indent="0" algn="ctr">
              <a:buNone/>
              <a:defRPr sz="1600"/>
            </a:lvl6pPr>
            <a:lvl7pPr marL="2742740" indent="0" algn="ctr">
              <a:buNone/>
              <a:defRPr sz="1600"/>
            </a:lvl7pPr>
            <a:lvl8pPr marL="3199864" indent="0" algn="ctr">
              <a:buNone/>
              <a:defRPr sz="1600"/>
            </a:lvl8pPr>
            <a:lvl9pPr marL="365698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498">
              <a:defRPr/>
            </a:pPr>
            <a:fld id="{1C08D212-65BB-4ACD-9568-9335E47E0F62}" type="datetimeFigureOut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2/4/2019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498">
              <a:defRPr/>
            </a:pPr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498">
              <a:defRPr/>
            </a:pPr>
            <a:fld id="{5FA75C71-C1E2-4770-9019-E1F3F9F7A94A}" type="slidenum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‹#›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5762395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43030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4924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8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4661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366941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3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677168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4" y="2084173"/>
            <a:ext cx="9860672" cy="1793104"/>
          </a:xfrm>
        </p:spPr>
        <p:txBody>
          <a:bodyPr/>
          <a:lstStyle>
            <a:lvl1pPr>
              <a:defRPr sz="4705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8357817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6916805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69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2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0855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39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31617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691" indent="-236546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184" indent="-336145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1"/>
            </a:lvl4pPr>
            <a:lvl5pPr>
              <a:defRPr sz="1961"/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9070317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041517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910861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8" y="2425049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2549734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5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262390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7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20368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3786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6702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E43C2CD-916E-4E61-8E92-0D1F209EB455}" type="datetimeFigureOut">
              <a:rPr lang="en-US" smtClean="0">
                <a:solidFill>
                  <a:srgbClr val="404040"/>
                </a:solidFill>
              </a:rPr>
              <a:pPr/>
              <a:t>2/4/2019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2136CA9-023A-4D49-821B-11EF8521ACEE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22403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571732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3720114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6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6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6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4244524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764801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528482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471080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159805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9870134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3119740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8905309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573049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93079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7412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76145827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31686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0222918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5817003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41382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25255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389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63857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cap="none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3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741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59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213049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44" indent="0">
              <a:buNone/>
              <a:defRPr/>
            </a:lvl3pPr>
            <a:lvl4pPr marL="447887" indent="0">
              <a:buNone/>
              <a:defRPr/>
            </a:lvl4pPr>
            <a:lvl5pPr marL="67183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1198220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0491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1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1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4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6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587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843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599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2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9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3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888695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1"/>
            <a:ext cx="11018520" cy="1612493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238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1" y="1435498"/>
            <a:ext cx="11018520" cy="16124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29390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00751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5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06275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62267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05094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523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297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3"/>
            <a:ext cx="4162425" cy="307777"/>
          </a:xfrm>
        </p:spPr>
        <p:txBody>
          <a:bodyPr/>
          <a:lstStyle>
            <a:lvl1pPr marL="0" indent="0"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61789" indent="0">
              <a:buNone/>
              <a:defRPr/>
            </a:lvl4pPr>
            <a:lvl5pPr marL="85540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83018294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448800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225">
              <a:defRPr/>
            </a:pPr>
            <a:fld id="{A34B8C21-472C-43AD-8B9F-5964D09AB204}" type="slidenum">
              <a:rPr lang="en-IN" smtClean="0">
                <a:solidFill>
                  <a:srgbClr val="505050"/>
                </a:solidFill>
                <a:latin typeface="Segoe UI"/>
              </a:rPr>
              <a:pPr defTabSz="914225">
                <a:defRPr/>
              </a:pPr>
              <a:t>‹#›</a:t>
            </a:fld>
            <a:endParaRPr lang="en-IN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rgbClr val="00B29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4023601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6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363868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799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7801545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996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42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345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178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16347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77504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42815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9954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E3F1-5A51-4B35-B9B4-F38309368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3216" y="289513"/>
            <a:ext cx="6421864" cy="899665"/>
          </a:xfrm>
        </p:spPr>
        <p:txBody>
          <a:bodyPr/>
          <a:lstStyle>
            <a:lvl1pPr>
              <a:defRPr lang="en-US" sz="3529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02D8466-407C-4220-B6A8-8C189F42E00B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1" y="0"/>
            <a:ext cx="5302440" cy="673454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2284D3-DBDC-495E-984E-DA902FB7B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3217" y="1661166"/>
            <a:ext cx="6421863" cy="817794"/>
          </a:xfrm>
        </p:spPr>
        <p:txBody>
          <a:bodyPr/>
          <a:lstStyle>
            <a:lvl1pPr marL="0" indent="0">
              <a:spcBef>
                <a:spcPts val="1765"/>
              </a:spcBef>
              <a:spcAft>
                <a:spcPts val="588"/>
              </a:spcAft>
              <a:buNone/>
              <a:defRPr sz="196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588"/>
              </a:spcAft>
              <a:buNone/>
              <a:defRPr lang="en-US" sz="1568" kern="1200" spc="8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>
              <a:defRPr sz="1176"/>
            </a:lvl3pPr>
            <a:lvl4pPr>
              <a:defRPr sz="1078"/>
            </a:lvl4pPr>
            <a:lvl5pPr>
              <a:defRPr sz="107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48161163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4" y="1436690"/>
            <a:ext cx="11018520" cy="1908215"/>
          </a:xfrm>
        </p:spPr>
        <p:txBody>
          <a:bodyPr/>
          <a:lstStyle>
            <a:lvl1pPr marL="0" indent="0">
              <a:buNone/>
              <a:defRPr sz="2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90952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1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01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189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1" y="1436690"/>
            <a:ext cx="11018838" cy="2215991"/>
          </a:xfrm>
        </p:spPr>
        <p:txBody>
          <a:bodyPr>
            <a:spAutoFit/>
          </a:bodyPr>
          <a:lstStyle>
            <a:lvl1pPr>
              <a:defRPr sz="3599">
                <a:latin typeface="+mn-lt"/>
              </a:defRPr>
            </a:lvl1pPr>
            <a:lvl2pPr>
              <a:defRPr sz="2799">
                <a:latin typeface="+mn-lt"/>
              </a:defRPr>
            </a:lvl2pPr>
            <a:lvl3pPr>
              <a:defRPr sz="2399">
                <a:latin typeface="+mn-lt"/>
              </a:defRPr>
            </a:lvl3pPr>
            <a:lvl4pPr>
              <a:defRPr sz="1999">
                <a:latin typeface="+mn-lt"/>
              </a:defRPr>
            </a:lvl4pPr>
            <a:lvl5pPr>
              <a:defRPr sz="1799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40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47192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270797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52299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089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495121"/>
            <a:ext cx="11653523" cy="510461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018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9"/>
            <a:ext cx="11653523" cy="160524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980159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569289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41199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419812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7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412172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5628511" y="2626222"/>
            <a:ext cx="553618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eep transfor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D9541E-22DB-4D52-8181-A1AA5720B347}"/>
              </a:ext>
            </a:extLst>
          </p:cNvPr>
          <p:cNvSpPr txBox="1"/>
          <p:nvPr userDrawn="1"/>
        </p:nvSpPr>
        <p:spPr>
          <a:xfrm>
            <a:off x="202097" y="105524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5DD86FF-CF8D-4D5A-97BA-7526A8303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28510" y="105524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931529-E991-4DB3-B887-1383B877392A}"/>
              </a:ext>
            </a:extLst>
          </p:cNvPr>
          <p:cNvSpPr txBox="1"/>
          <p:nvPr userDrawn="1"/>
        </p:nvSpPr>
        <p:spPr>
          <a:xfrm>
            <a:off x="202097" y="1840270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B98947-DEBB-40AF-8C56-C6A65155B05A}"/>
              </a:ext>
            </a:extLst>
          </p:cNvPr>
          <p:cNvSpPr txBox="1"/>
          <p:nvPr userDrawn="1"/>
        </p:nvSpPr>
        <p:spPr>
          <a:xfrm>
            <a:off x="202097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1AB3B0-9D9C-4DCF-AD0D-97258F1220DE}"/>
              </a:ext>
            </a:extLst>
          </p:cNvPr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51D9E96-E652-43D7-AD1D-25CF06E38D9D}"/>
                </a:ext>
              </a:extLst>
            </p:cNvPr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10FA7F9-9C23-492E-BC3D-96F67220A1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27109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1105294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keep transform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grow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succe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1840270"/>
            <a:ext cx="2535359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lear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75F147-F187-406F-B1C7-8708AB3B7EBF}"/>
              </a:ext>
            </a:extLst>
          </p:cNvPr>
          <p:cNvSpPr txBox="1"/>
          <p:nvPr userDrawn="1"/>
        </p:nvSpPr>
        <p:spPr>
          <a:xfrm>
            <a:off x="4927288" y="1055247"/>
            <a:ext cx="295816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dream</a:t>
            </a:r>
          </a:p>
        </p:txBody>
      </p:sp>
    </p:spTree>
    <p:extLst>
      <p:ext uri="{BB962C8B-B14F-4D97-AF65-F5344CB8AC3E}">
        <p14:creationId xmlns:p14="http://schemas.microsoft.com/office/powerpoint/2010/main" val="1892288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4" y="2084187"/>
            <a:ext cx="8964185" cy="1793091"/>
          </a:xfrm>
          <a:noFill/>
        </p:spPr>
        <p:txBody>
          <a:bodyPr lIns="146304" tIns="91440" rIns="146304" bIns="91440" anchor="t" anchorCtr="0"/>
          <a:lstStyle>
            <a:lvl1pPr>
              <a:defRPr sz="5295" spc="-99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1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1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656437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66" name="Group 165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67" name="Group 166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73" name="Freeform: Shape 172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4" name="Freeform: Shape 173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5" name="Freeform: Shape 174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6" name="Freeform: Shape 175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69" name="Freeform: Shape 168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0" name="Freeform: Shape 169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1" name="Freeform: Shape 170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2" name="Freeform: Shape 171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-814610" y="4052583"/>
            <a:ext cx="4604401" cy="3537327"/>
            <a:chOff x="-814611" y="4052582"/>
            <a:chExt cx="4604401" cy="3537327"/>
          </a:xfrm>
        </p:grpSpPr>
        <p:sp>
          <p:nvSpPr>
            <p:cNvPr id="122" name="Freeform: Shape 121"/>
            <p:cNvSpPr/>
            <p:nvPr/>
          </p:nvSpPr>
          <p:spPr>
            <a:xfrm rot="6340721">
              <a:off x="730446" y="309333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 rot="4480905">
              <a:off x="-94312" y="3705806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Title 1"/>
          <p:cNvSpPr>
            <a:spLocks noGrp="1"/>
          </p:cNvSpPr>
          <p:nvPr userDrawn="1">
            <p:ph type="title"/>
          </p:nvPr>
        </p:nvSpPr>
        <p:spPr>
          <a:xfrm>
            <a:off x="1056885" y="2239229"/>
            <a:ext cx="9440739" cy="3424745"/>
          </a:xfrm>
        </p:spPr>
        <p:txBody>
          <a:bodyPr>
            <a:noAutofit/>
          </a:bodyPr>
          <a:lstStyle>
            <a:lvl1pPr>
              <a:defRPr sz="7998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31947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9" cy="2328587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2" indent="0">
              <a:buNone/>
              <a:defRPr/>
            </a:lvl2pPr>
            <a:lvl3pPr marL="448182" indent="0">
              <a:buNone/>
              <a:defRPr/>
            </a:lvl3pPr>
            <a:lvl4pPr marL="672274" indent="0">
              <a:buNone/>
              <a:defRPr/>
            </a:lvl4pPr>
            <a:lvl5pPr marL="89636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2467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5"/>
            <a:ext cx="11655079" cy="23285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977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47" indent="0">
              <a:buFont typeface="Wingdings" panose="05000000000000000000" pitchFamily="2" charset="2"/>
              <a:buNone/>
              <a:defRPr sz="2353" b="0"/>
            </a:lvl2pPr>
            <a:lvl3pPr marL="441957" indent="0">
              <a:buFont typeface="Wingdings" panose="05000000000000000000" pitchFamily="2" charset="2"/>
              <a:buNone/>
              <a:tabLst/>
              <a:defRPr sz="2157" b="0"/>
            </a:lvl3pPr>
            <a:lvl4pPr marL="639592" indent="0">
              <a:buFont typeface="Wingdings" panose="05000000000000000000" pitchFamily="2" charset="2"/>
              <a:buNone/>
              <a:defRPr sz="2157" b="0"/>
            </a:lvl4pPr>
            <a:lvl5pPr marL="83723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47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57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592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3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05" marR="0" lvl="0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05" marR="0" lvl="1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05" marR="0" lvl="2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05" marR="0" lvl="3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05" marR="0" lvl="4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25462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227204" indent="-227204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15" indent="-168068">
              <a:buFont typeface="Wingdings" panose="05000000000000000000" pitchFamily="2" charset="2"/>
              <a:buChar char=""/>
              <a:defRPr sz="2353" b="0"/>
            </a:lvl2pPr>
            <a:lvl3pPr marL="627144" indent="-185186">
              <a:buFont typeface="Wingdings" panose="05000000000000000000" pitchFamily="2" charset="2"/>
              <a:buChar char=""/>
              <a:tabLst/>
              <a:defRPr sz="2157" b="0"/>
            </a:lvl3pPr>
            <a:lvl4pPr marL="812330" indent="-172738">
              <a:buFont typeface="Wingdings" panose="05000000000000000000" pitchFamily="2" charset="2"/>
              <a:buChar char=""/>
              <a:defRPr sz="2157" b="0"/>
            </a:lvl4pPr>
            <a:lvl5pPr marL="1003742" indent="-166513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670" indent="-281670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84" indent="-336137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094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29" indent="-336137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65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4" marR="0" lvl="0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4" marR="0" lvl="1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4" marR="0" lvl="2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4" marR="0" lvl="3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4" marR="0" lvl="4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69199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92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98206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A35A8-E087-426C-BCE4-DED8074F0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12251-C1D1-475D-8A57-2211DEE249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29D8-794D-4883-8C4C-E48B36FF0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3D017F-9DA9-4A5B-A016-2791FEABC1C3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4/201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D57FFF-BD67-4A81-A546-BAF4B6C8D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0CA30-A1E9-4315-8384-AC67A7BAE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D9568B-6C42-40FB-BA7D-BAFC60EE407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59864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089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5598C7-98FA-4441-9A16-6865D6BEA2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9CEFEC-B499-4D69-AEAE-D3E52BD754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75" indent="0" algn="ctr">
              <a:buNone/>
              <a:defRPr sz="1999"/>
            </a:lvl2pPr>
            <a:lvl3pPr marL="913951" indent="0" algn="ctr">
              <a:buNone/>
              <a:defRPr sz="1799"/>
            </a:lvl3pPr>
            <a:lvl4pPr marL="1370926" indent="0" algn="ctr">
              <a:buNone/>
              <a:defRPr sz="1600"/>
            </a:lvl4pPr>
            <a:lvl5pPr marL="1827900" indent="0" algn="ctr">
              <a:buNone/>
              <a:defRPr sz="1600"/>
            </a:lvl5pPr>
            <a:lvl6pPr marL="2284875" indent="0" algn="ctr">
              <a:buNone/>
              <a:defRPr sz="1600"/>
            </a:lvl6pPr>
            <a:lvl7pPr marL="2741851" indent="0" algn="ctr">
              <a:buNone/>
              <a:defRPr sz="1600"/>
            </a:lvl7pPr>
            <a:lvl8pPr marL="3198825" indent="0" algn="ctr">
              <a:buNone/>
              <a:defRPr sz="1600"/>
            </a:lvl8pPr>
            <a:lvl9pPr marL="36558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36EC2D-1DDE-44DD-A9B6-D13BED7AD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F2E327-2285-4FFE-A444-0A32F1E9D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1E8FFA-1F8B-48EA-B39E-5EBE22AD9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04305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45A05-5749-4AC9-8774-4B958AC52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ECF56E-1913-4C84-AFB7-141C311662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B4B18C-A37E-49CD-9C41-7AB0C0113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CB07A0-EC62-4F71-A5E1-7B9FB9603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F2508F-BD82-48F6-B10E-3F5D5C4A8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931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27206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511330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08136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BD4CF-99F2-4D57-ACD7-D066F8A2A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1C9D3B-935A-487B-B374-4EA31E375E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8651A-B5E7-4CBC-8B2A-A9659DCFEB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19A43F-266F-4B08-B395-487BC3CFBC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470BB-F142-4561-85A9-405B1FADE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FFF173-CB13-4D18-9D44-A8E423A79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4692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E223E-99EA-4DE2-8C64-13D36E77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CAA717-1474-4998-BC66-5552C7F2BB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5CB5EF-51FA-44DC-BD68-7493503658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BF8C9E-03B6-41DE-A1DB-FD56FBFA7C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F1013F-01D0-4B43-9920-A34CC45A9E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3642FDB-CBC9-45AF-B4B9-FA9B602B9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489A92-54AC-4919-9A25-A43B80CA8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D11812-FF17-4908-8DBE-E015F4C20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17293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A3B00-F766-45D3-A7E8-3B3752306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511BCE-0813-42C8-8B7C-0EB60FCA7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D96101-F997-454F-B0F2-BC315304C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781A9F-CB6B-4C7E-9750-CD0FA5996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5816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2F015D-2E39-40E0-8A01-131E5AB608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434CAB-495B-4F2B-B05B-B09B49841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01C4A-D6C5-4718-B230-1EE277916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83922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9E31D-20D8-452A-9959-1B22621A9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3459C8-A511-4F51-903D-E5D1159730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C56E3E-CDBD-4F62-95A4-0A9688977C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FB2D8D-0772-4A62-87CA-98EB2EED3A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6541FB-469F-4183-B3A9-3BD437F1B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8243CD-0518-4259-AC68-488937FCE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90907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A7C40-2F46-4118-818E-0D4504535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9344C2-56AE-44C9-B27B-4AFCD83103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6975" indent="0">
              <a:buNone/>
              <a:defRPr sz="2799"/>
            </a:lvl2pPr>
            <a:lvl3pPr marL="913951" indent="0">
              <a:buNone/>
              <a:defRPr sz="2399"/>
            </a:lvl3pPr>
            <a:lvl4pPr marL="1370926" indent="0">
              <a:buNone/>
              <a:defRPr sz="1999"/>
            </a:lvl4pPr>
            <a:lvl5pPr marL="1827900" indent="0">
              <a:buNone/>
              <a:defRPr sz="1999"/>
            </a:lvl5pPr>
            <a:lvl6pPr marL="2284875" indent="0">
              <a:buNone/>
              <a:defRPr sz="1999"/>
            </a:lvl6pPr>
            <a:lvl7pPr marL="2741851" indent="0">
              <a:buNone/>
              <a:defRPr sz="1999"/>
            </a:lvl7pPr>
            <a:lvl8pPr marL="3198825" indent="0">
              <a:buNone/>
              <a:defRPr sz="1999"/>
            </a:lvl8pPr>
            <a:lvl9pPr marL="3655800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AECAE-DB29-4A8D-9F16-57AD8818C6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2FBD9A-9528-4B73-9F12-36701F927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E79C7D-9DA3-4A26-9FE8-ADC6DE6BB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D3461B-E2B1-4E96-86D3-71806019B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4237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C8C28-D311-4258-B673-729333E8E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063538-75B4-46A4-944C-5D1B45BDDC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883D52-043D-422C-84F5-BE1A97AD0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83D50-DDAE-4E35-B398-BAD98829A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AB3A10-E5F4-49E7-89B5-E9FEE7AA7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15671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906419-E9BD-4C88-9F8F-2BCBF79EFF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8878FD-21C2-418F-8804-F6610D6B74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1A0776-E3BC-4DE4-8945-96D3B3544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AEF6A9-3878-4353-95BB-19BAC8AAC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1B9585-FFD7-4795-9BF2-F3B097749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74165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1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52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89"/>
          <p:cNvSpPr/>
          <p:nvPr userDrawn="1"/>
        </p:nvSpPr>
        <p:spPr>
          <a:xfrm>
            <a:off x="1" y="0"/>
            <a:ext cx="5763491" cy="6858000"/>
          </a:xfrm>
          <a:prstGeom prst="rect">
            <a:avLst/>
          </a:prstGeom>
          <a:solidFill>
            <a:srgbClr val="ECE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1" name="Content Placeholder 2"/>
          <p:cNvSpPr>
            <a:spLocks noGrp="1"/>
          </p:cNvSpPr>
          <p:nvPr>
            <p:ph idx="1"/>
          </p:nvPr>
        </p:nvSpPr>
        <p:spPr>
          <a:xfrm>
            <a:off x="360841" y="2650966"/>
            <a:ext cx="4470926" cy="1556071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marL="0" indent="0">
              <a:lnSpc>
                <a:spcPct val="100000"/>
              </a:lnSpc>
              <a:buNone/>
            </a:pPr>
            <a:r>
              <a:rPr lang="en-US" sz="3200" b="1">
                <a:solidFill>
                  <a:srgbClr val="002050"/>
                </a:solidFill>
                <a:latin typeface="+mn-lt"/>
                <a:ea typeface="+mj-ea"/>
              </a:rPr>
              <a:t>Technology leaders face a changing environment</a:t>
            </a:r>
            <a:endParaRPr lang="en-US" sz="2400" b="1">
              <a:solidFill>
                <a:srgbClr val="00205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691099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75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2115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20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547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375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82049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52572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856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23091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0502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425439" y="0"/>
            <a:ext cx="676656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0839" y="2571750"/>
            <a:ext cx="4610303" cy="1714500"/>
          </a:xfrm>
        </p:spPr>
        <p:txBody>
          <a:bodyPr anchor="ctr">
            <a:noAutofit/>
          </a:bodyPr>
          <a:lstStyle>
            <a:lvl1pPr marL="0" indent="0">
              <a:buNone/>
              <a:defRPr lang="en-US" sz="4000" kern="1200" dirty="0">
                <a:solidFill>
                  <a:prstClr val="white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0315303" y="1"/>
            <a:ext cx="1876697" cy="496389"/>
          </a:xfrm>
          <a:solidFill>
            <a:schemeClr val="bg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tx2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391490336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10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8885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3"/>
            <a:ext cx="6904778" cy="899665"/>
          </a:xfrm>
        </p:spPr>
        <p:txBody>
          <a:bodyPr/>
          <a:lstStyle>
            <a:lvl1pPr>
              <a:defRPr sz="39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4"/>
              </a:spcBef>
              <a:buNone/>
              <a:defRPr sz="1960">
                <a:latin typeface="+mn-lt"/>
              </a:defRPr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1" y="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34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590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87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5184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869907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092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9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3047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262847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2/4/2019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29864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4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6050967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5" y="2084173"/>
            <a:ext cx="9860672" cy="1793104"/>
          </a:xfrm>
        </p:spPr>
        <p:txBody>
          <a:bodyPr/>
          <a:lstStyle>
            <a:lvl1pPr>
              <a:defRPr sz="4704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4832498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044" indent="-336044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25715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8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1932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8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3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54821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8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40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46423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519" indent="-236475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016" indent="-336044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0"/>
            </a:lvl4pPr>
            <a:lvl5pPr>
              <a:defRPr sz="1960"/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810934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6761150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9" y="2425051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537467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43391" rIns="179238" bIns="143391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6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99134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22258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8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987159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3076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988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5026966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6887529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516936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0351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3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3877279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5324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9544870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1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464396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3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70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12" tIns="143372" rIns="179212" bIns="143372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928710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-2" y="4790977"/>
            <a:ext cx="4178809" cy="563231"/>
          </a:xfrm>
          <a:solidFill>
            <a:schemeClr val="bg2"/>
          </a:solidFill>
        </p:spPr>
        <p:txBody>
          <a:bodyPr vert="horz" lIns="457200" tIns="182880" rIns="365760" bIns="182880" rtlCol="0">
            <a:spAutoFit/>
          </a:bodyPr>
          <a:lstStyle>
            <a:lvl1pPr>
              <a:defRPr lang="en-US" sz="1400" b="1" smtClean="0">
                <a:solidFill>
                  <a:srgbClr val="002050"/>
                </a:solidFill>
                <a:latin typeface="Segoe UI"/>
                <a:cs typeface=""/>
              </a:defRPr>
            </a:lvl1pPr>
            <a:lvl2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lang="en-US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marL="0" lvl="0" indent="0">
              <a:spcBef>
                <a:spcPts val="800"/>
              </a:spcBef>
              <a:spcAft>
                <a:spcPts val="600"/>
              </a:spcAft>
              <a:buClr>
                <a:srgbClr val="00C0F9"/>
              </a:buClr>
              <a:buNone/>
            </a:pPr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5406864" cy="89255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91746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4" y="2629145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9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4" y="3199213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5" y="1774043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7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5" y="2344111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4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5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4" y="1489009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5" y="63839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3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5" y="633907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4" y="6049553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7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4" y="6619613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5" y="5194451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5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5" y="5764519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4" y="4339349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3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4" y="4909417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5" y="3484247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5" y="4054315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141639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1315713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578460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0276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760559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E73B716-5AC1-4E6F-99C0-F195B0C58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78FD896-9F6B-4251-9F12-35FEF1AF74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5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4442CC-A341-2548-8632-8304206EF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449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MSF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 presentation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30372D-8606-427F-81BF-A215D788E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875" y="252099"/>
            <a:ext cx="1970160" cy="724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838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 Azure Dev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326A775-9A41-46BA-A0F5-6200093FC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141" y="2605914"/>
            <a:ext cx="4877472" cy="418762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26425" y="2128263"/>
            <a:ext cx="7477989" cy="358620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2028E2-C5DC-4CA9-88C9-D5024B2AD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974" y="2540313"/>
            <a:ext cx="7028471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Azure DevOps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EFA9DF5-3A2A-422C-B2A6-A700C5CFD6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975" y="4342824"/>
            <a:ext cx="6107853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F17F8D-94AF-494A-9DEA-6500CB1B69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564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8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3412800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</p:spTree>
    <p:extLst>
      <p:ext uri="{BB962C8B-B14F-4D97-AF65-F5344CB8AC3E}">
        <p14:creationId xmlns:p14="http://schemas.microsoft.com/office/powerpoint/2010/main" val="394147376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2/4/2019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2721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121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217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314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4073317878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96552879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0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3291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6641618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552412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</p:spTree>
    <p:extLst>
      <p:ext uri="{BB962C8B-B14F-4D97-AF65-F5344CB8AC3E}">
        <p14:creationId xmlns:p14="http://schemas.microsoft.com/office/powerpoint/2010/main" val="870108383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1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</p:spTree>
    <p:extLst>
      <p:ext uri="{BB962C8B-B14F-4D97-AF65-F5344CB8AC3E}">
        <p14:creationId xmlns:p14="http://schemas.microsoft.com/office/powerpoint/2010/main" val="1683049207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0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222583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1129913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</p:spTree>
    <p:extLst>
      <p:ext uri="{BB962C8B-B14F-4D97-AF65-F5344CB8AC3E}">
        <p14:creationId xmlns:p14="http://schemas.microsoft.com/office/powerpoint/2010/main" val="2346325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2"/>
            <a:ext cx="3623050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445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</a:t>
            </a:r>
          </a:p>
        </p:txBody>
      </p:sp>
    </p:spTree>
    <p:extLst>
      <p:ext uri="{BB962C8B-B14F-4D97-AF65-F5344CB8AC3E}">
        <p14:creationId xmlns:p14="http://schemas.microsoft.com/office/powerpoint/2010/main" val="2452349967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3"/>
            <a:ext cx="3623050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3068079688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4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2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004632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658975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1" y="1179838"/>
            <a:ext cx="5780073" cy="3756460"/>
          </a:xfrm>
        </p:spPr>
        <p:txBody>
          <a:bodyPr anchor="ctr">
            <a:noAutofit/>
          </a:bodyPr>
          <a:lstStyle>
            <a:lvl1pPr algn="ctr">
              <a:defRPr sz="1765" b="1"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44854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1996355998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7779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9931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4E73804-9B47-4D7E-8A36-A9DB54B0F2BB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E555FE-1A25-470F-9400-806E2FDA6E4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tx1"/>
                  </a:solidFill>
                </a:rPr>
                <a:t>© Microsoft Corporation</a:t>
              </a:r>
              <a:endParaRPr lang="en-US" sz="784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ADAB30E-A5BE-4BDE-8420-731E8A2CBAB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259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FBA475-1622-4E42-8C0A-6A71410B58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489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8441881C-06B8-4CD2-ADC6-DFD3519E6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4916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6678495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B5A989-B33D-A043-A074-7F6AD654A9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206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dark gray">
    <p:bg>
      <p:bgPr>
        <a:solidFill>
          <a:srgbClr val="3535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4E7C5A-6554-964E-83C8-1AB5178180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946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5838650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3475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172144"/>
            <a:ext cx="10515600" cy="89255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>
              <a:defRPr/>
            </a:pPr>
            <a:endParaRPr lang="en-US" sz="7998" kern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1350" y="1510353"/>
            <a:ext cx="11680649" cy="5347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15303" y="1"/>
            <a:ext cx="1876697" cy="496389"/>
          </a:xfrm>
          <a:solidFill>
            <a:srgbClr val="002050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bg1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257316729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1"/>
            <a:ext cx="11277599" cy="59436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D5C19BA-6DD0-2341-932F-962FA328D5D7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356897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8743FE-41B9-984E-A69D-ECABFEB0E74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27732AA-D7B1-48A6-8C12-8974C5F0A104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111904" y="1866901"/>
            <a:ext cx="5622896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3475C84-786C-409E-B9CE-2261308DA6E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65152" y="1866901"/>
            <a:ext cx="5646753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5005606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12637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0456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4382466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219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37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id="{159B70CA-162C-4108-ACA6-CEEA047F6AE6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53935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F9C77CE-6642-4EB3-964C-4757236312B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240434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F799E92C-66C0-42AC-B537-87624873AE0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748409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43FF8C8-7F5A-4421-9447-1B05BF103B20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440151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779611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7A7BB0F-782C-4D9F-9090-0EA61980C6A3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743672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19AF4754-F11E-4E8F-BBFA-9E489F861B0D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328192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4A6C387-0A1F-4F01-A189-777EA61C60E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525203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2616517D-D5CD-4ABF-BB07-27B705B1ED45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39939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FA53395-9C25-4CB2-B341-C4A926CEFC07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8716432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89C1FB2-6B75-46E5-9AA1-5BE3945FCA2E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81206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FE5F5BCB-2E29-4CD6-911A-DE5C1CED1D5F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5511213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E4895D9-8662-4A4F-98D4-0B8BC8B959B8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1198462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6" name="TextBox 7">
            <a:extLst>
              <a:ext uri="{FF2B5EF4-FFF2-40B4-BE49-F238E27FC236}">
                <a16:creationId xmlns:a16="http://schemas.microsoft.com/office/drawing/2014/main" id="{64E1D9FA-9E2F-48CB-9D5D-F452A17FA04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5465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E2C2C8D7-61A8-4984-AFD4-35DE8D9F804B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74550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272248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42124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6A51A04-EF84-4B1B-9E21-8F15035DF979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96132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5951E567-86DB-49D9-87EB-08DE2B1BC6D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70257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EF3E351-722F-45A0-BD85-698E055B98F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14574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C852AFA-BC02-44DE-94C3-845604AD057E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89493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3284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19225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13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390756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B81D8C-4C31-41CF-81D0-4CC568E35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0D150-A9DE-4F39-86C9-7D38F43CCD86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7094DA-DA93-4CD2-A064-3DCB895FA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6DA05E-CF30-46A9-86AC-FEBDA78D1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F2C07D-92F8-4C70-8E18-1E2F4557176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36395F9-5D76-4DF3-A7A6-08A3F700E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205630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629641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imag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726449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115824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953006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0960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/>
              <a:t>Bullet first level</a:t>
            </a:r>
          </a:p>
          <a:p>
            <a:pPr lvl="1"/>
            <a:r>
              <a:rPr lang="en-US"/>
              <a:t>Bullet second level</a:t>
            </a:r>
          </a:p>
          <a:p>
            <a:pPr lvl="2"/>
            <a:r>
              <a:rPr lang="en-US"/>
              <a:t>Bullet third level</a:t>
            </a:r>
          </a:p>
          <a:p>
            <a:pPr lvl="3"/>
            <a:r>
              <a:rPr lang="en-US"/>
              <a:t>Bullet 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744807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269240" y="1189177"/>
            <a:ext cx="11653600" cy="466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L="609585" marR="0" lvl="0" indent="-423323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1219170" marR="0" lvl="1" indent="-397923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828754" marR="0" lvl="2" indent="-380990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1467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2438339" marR="0" lvl="3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3047924" marR="0" lvl="4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3657509" marR="0" lvl="5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4267093" marR="0" lvl="6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4876678" marR="0" lvl="7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5486263" marR="0" lvl="8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269240" y="289513"/>
            <a:ext cx="11656000" cy="803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Quattrocento Sans"/>
              <a:buNone/>
              <a:defRPr sz="4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23765638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63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669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390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994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658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568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29827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3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8D0D8F9C-9D73-432D-8577-60228C3C0A12}"/>
              </a:ext>
            </a:extLst>
          </p:cNvPr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6339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45731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70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0818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091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652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0205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4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556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408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337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022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27234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F7917-2784-4EB3-A54D-3B8C8F513F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60A789-C7A4-440A-969D-25A4EC3328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CAA607-2F02-4D3B-8255-F405C4B85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6BE0FB-3F75-4E2D-BF5C-98DC99729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BE56F-BB96-4D48-9397-B042E386B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602128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B64C7-0115-4B0D-9006-66DC391D4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10B0B0-480F-4A45-9106-EDE15E3C94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137FF6-08DD-446F-84A5-B51804534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26919-5CA5-4C53-A2F1-F670393FF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FA11D-FB6C-4FB9-BEC3-ED85A2A59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374943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5A418-0AE6-4C20-B863-D9A75F034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42AE82-B0B5-4694-9EDB-A29A042B34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48735C-A3E8-44AD-B3F6-3F42EFBEB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E3B71E-D5AA-4090-9607-B23B76D39E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6C8D4D-3467-4636-9770-43D063318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9248510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A000E-FD89-4F8F-A42A-E670D8878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BDAA16-4B91-4FFE-BE76-677B0B3F9C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D5EF01-6400-45C7-A5F1-AD1ABA3588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CB28D4-C852-4D20-854F-2AF786BE6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9F9265-5ACE-461C-9732-DDD1A38D8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922F03-F447-4CD3-A488-5B0DEAAC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794519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4ABD9-EE01-4268-87DC-1F3899BDA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B10D19-26C8-451A-981C-D4DCAD778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CB04DD-65B4-470E-9A20-54FD81C82B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18D828-A7DE-4DE7-A373-ABE9F0E87C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DA3D15-AAF6-4425-B088-BCCB625FFC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459A8F-D15A-4F03-8FE2-F1A581962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CE4F7FC-85D8-4E14-8A73-0380EB88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58ED36-B9CF-4B20-B236-B6339DAE7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519119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9CE1C-39C6-49A5-BCF1-01EAB92D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4E604C-D60A-48D7-80F0-CF1622A72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698A8E-120F-4F59-8D21-BD662CDB4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0F9B65-0F94-4BFB-9103-85BB412D7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604855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2CDD6F-A6B4-4270-A455-273C15CC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525162-E0E5-423A-B508-4D09AE154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0023BD-3AF5-4527-B373-1DABDB9D4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588280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6FF2D-727B-4178-91CB-06153A445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A95358-9DF2-4688-90F4-9A4CD6E71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65BE2-DD83-4F2E-9F92-6CF7826FF8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E40F1F-A84C-4750-9425-325D45E08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81C37C-D76D-4FB7-8CE9-99743E788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A41499-0149-490C-BEE2-CF7E184E9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99363073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71B106-2C16-47CF-A5F8-78F576079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467F68-3AFF-4B00-8F59-F893CE500E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F97233-F5EC-4C0F-999E-390353FA6F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99004D-E4BD-4D10-8E8D-7EBE499BE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C4DE27-C44C-4527-A8D3-AB0EBD74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A6A608-F02A-4205-9952-5BE249F51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79774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376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E8C16-D90E-4F10-99EA-2615B5CD6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18A40A-9CF2-45E7-AE97-027BE09646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67D9DF-D956-4051-8454-6C069C9BD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D628F9-2790-420A-A02B-FB620E1D8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CD679-F404-4183-A51D-F90E17C72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889041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B6F22E-71E0-4AE2-ADEF-C6E46FA220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63ACC8-CA2D-4304-A31D-41FC8F1D2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7E4686-0944-453F-96B7-3D9B76BDA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5D9E9-86BA-4C05-A8F0-12B3360A1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A3A62F-AD8D-400E-8A1A-017147F0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952063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5176" cy="73152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849056" y="1905000"/>
            <a:ext cx="3963432" cy="2324684"/>
          </a:xfrm>
        </p:spPr>
        <p:txBody>
          <a:bodyPr>
            <a:noAutofit/>
          </a:bodyPr>
          <a:lstStyle>
            <a:lvl1pPr>
              <a:defRPr sz="138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Q&amp;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934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9375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005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22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289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11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493385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698134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94909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825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0639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151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734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0151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06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116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03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0264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603705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6825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3230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71" y="80690"/>
            <a:ext cx="1317744" cy="123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89642" rIns="89642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6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085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46669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88131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7044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6123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72910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2178837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01590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772661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(event name)">
    <p:bg bwMode="gray"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6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2" name="Group 8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25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2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white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white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8" name="Freeform 12"/>
            <p:cNvSpPr>
              <a:spLocks noEditPoints="1"/>
            </p:cNvSpPr>
            <p:nvPr/>
          </p:nvSpPr>
          <p:spPr bwMode="white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7" name="Group 76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0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7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8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9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0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1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52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3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4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5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6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7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8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9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59" name="Group 158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90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7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8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63968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</p:bldLst>
  </p:timing>
  <p:extLst mod="1"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  <p15:guide id="5" orient="horz" pos="57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grpSp>
        <p:nvGrpSpPr>
          <p:cNvPr id="58" name="Group 57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5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67" name="Group 66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76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77" name="Group 76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78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1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2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3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4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19050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2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93" name="Group 92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9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19802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14" dur="1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  <p:bldP spid="76" grpId="1" animBg="1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NIMATED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392104" y="6566924"/>
            <a:ext cx="3407792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</a:rPr>
              <a:t>MICROSOFT CONFIDENTIAL – INTERNAL ONLY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724454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733410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699116" y="122012"/>
            <a:ext cx="6122818" cy="7069081"/>
            <a:chOff x="5813395" y="124441"/>
            <a:chExt cx="6245593" cy="7209808"/>
          </a:xfrm>
        </p:grpSpPr>
        <p:pic>
          <p:nvPicPr>
            <p:cNvPr id="889" name="Picture 888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6647005" y="2354262"/>
              <a:ext cx="1489168" cy="693233"/>
            </a:xfrm>
            <a:prstGeom prst="rect">
              <a:avLst/>
            </a:prstGeom>
          </p:spPr>
        </p:pic>
        <p:pic>
          <p:nvPicPr>
            <p:cNvPr id="888" name="Picture 887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191017" y="2724150"/>
              <a:ext cx="2867971" cy="1335090"/>
            </a:xfrm>
            <a:prstGeom prst="rect">
              <a:avLst/>
            </a:prstGeom>
          </p:spPr>
        </p:pic>
        <p:pic>
          <p:nvPicPr>
            <p:cNvPr id="883" name="Picture 88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33373" y="124441"/>
              <a:ext cx="3035177" cy="4104659"/>
            </a:xfrm>
            <a:prstGeom prst="rect">
              <a:avLst/>
            </a:prstGeom>
          </p:spPr>
        </p:pic>
        <p:pic>
          <p:nvPicPr>
            <p:cNvPr id="884" name="Picture 88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98644" y="1001712"/>
              <a:ext cx="3079149" cy="4083737"/>
            </a:xfrm>
            <a:prstGeom prst="rect">
              <a:avLst/>
            </a:prstGeom>
          </p:spPr>
        </p:pic>
        <p:pic>
          <p:nvPicPr>
            <p:cNvPr id="885" name="Picture 884"/>
            <p:cNvPicPr>
              <a:picLocks noChangeAspect="1"/>
            </p:cNvPicPr>
            <p:nvPr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5813395" y="2831443"/>
              <a:ext cx="3563938" cy="1659075"/>
            </a:xfrm>
            <a:prstGeom prst="rect">
              <a:avLst/>
            </a:prstGeom>
          </p:spPr>
        </p:pic>
        <p:pic>
          <p:nvPicPr>
            <p:cNvPr id="886" name="Picture 88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50974" y="3178032"/>
              <a:ext cx="3266895" cy="4156217"/>
            </a:xfrm>
            <a:prstGeom prst="rect">
              <a:avLst/>
            </a:prstGeom>
          </p:spPr>
        </p:pic>
        <p:pic>
          <p:nvPicPr>
            <p:cNvPr id="887" name="Picture 88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51355" y="4105275"/>
              <a:ext cx="1046428" cy="1449387"/>
            </a:xfrm>
            <a:prstGeom prst="rect">
              <a:avLst/>
            </a:prstGeom>
          </p:spPr>
        </p:pic>
        <p:pic>
          <p:nvPicPr>
            <p:cNvPr id="890" name="Picture 889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424683" y="5810253"/>
              <a:ext cx="906259" cy="42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796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3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0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37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44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1" grpId="2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3" grpId="2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2" grpId="2"/>
      <p:bldP spid="9" grpId="0"/>
      <p:bldP spid="9" grpId="1"/>
      <p:bldP spid="9" grpId="2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5" grpId="2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3" name="Group 82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84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92" name="Group 9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93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4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1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102" name="Group 101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103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4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5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6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7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8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3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4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5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6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7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18" name="Group 11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119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0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1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2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3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4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5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6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7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8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9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0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1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32" name="Group 131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133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4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5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6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7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8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9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0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2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3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48" name="Group 147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9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0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1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2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3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4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5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9709935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1" grpId="1" animBg="1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81195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449820" y="471738"/>
            <a:ext cx="2135184" cy="456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29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820" y="471124"/>
            <a:ext cx="2134206" cy="45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7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377023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8"/>
            <a:ext cx="5826760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313333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28781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6865440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03835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068897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25067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059970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388293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29955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520228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770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31553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| Sub 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2"/>
            <a:ext cx="6125968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9241" y="1803528"/>
            <a:ext cx="612556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6545770" y="0"/>
            <a:ext cx="564623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96420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57948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3" y="1710608"/>
            <a:ext cx="11877629" cy="1644641"/>
          </a:xfrm>
        </p:spPr>
        <p:txBody>
          <a:bodyPr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135823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778861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3" y="291069"/>
            <a:ext cx="1563248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>
                <a:solidFill>
                  <a:schemeClr val="bg1"/>
                </a:solidFill>
              </a:rPr>
              <a:t>demo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20106" y="1337045"/>
            <a:ext cx="362136" cy="6220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marL="0" marR="0" lvl="0" indent="0" defTabSz="89621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16000">
                    <a:srgbClr val="FFFFFF">
                      <a:alpha val="90000"/>
                    </a:srgbClr>
                  </a:gs>
                  <a:gs pos="90000">
                    <a:srgbClr val="FFFFFF">
                      <a:alpha val="90000"/>
                    </a:srgbClr>
                  </a:gs>
                </a:gsLst>
                <a:lin ang="16200000" scaled="0"/>
              </a:gradFill>
              <a:effectLst/>
              <a:uLnTx/>
              <a:uFillTx/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7811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4577398" cy="1874884"/>
          </a:xfrm>
          <a:noFill/>
        </p:spPr>
        <p:txBody>
          <a:bodyPr tIns="91440" bIns="91440" anchor="t" anchorCtr="0"/>
          <a:lstStyle>
            <a:lvl1pPr>
              <a:defRPr sz="7054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9"/>
            <a:ext cx="4578121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19" b="1">
                <a:solidFill>
                  <a:schemeClr val="bg1"/>
                </a:solidFill>
              </a:rPr>
              <a:t>video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038" y="1705680"/>
            <a:ext cx="6218237" cy="360826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1650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>
                <a:solidFill>
                  <a:schemeClr val="bg1"/>
                </a:solidFill>
              </a:rPr>
              <a:t>vide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2259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457736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51097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6469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97963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250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661545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609388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1598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32860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353714" y="3134846"/>
            <a:ext cx="3320351" cy="709743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blackWhite">
          <a:xfrm>
            <a:off x="194537" y="5296816"/>
            <a:ext cx="10758655" cy="44812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1028">
                <a:gradFill>
                  <a:gsLst>
                    <a:gs pos="7500">
                      <a:schemeClr val="tx1"/>
                    </a:gs>
                    <a:gs pos="19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13957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015471"/>
            <a:ext cx="11709400" cy="51706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850444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4" y="1710608"/>
            <a:ext cx="5833712" cy="1644641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709329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328425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Key takeaway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2457736"/>
            <a:ext cx="5378549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946596" y="2457736"/>
            <a:ext cx="5976166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94534" y="1710609"/>
            <a:ext cx="1120533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>
                <a:solidFill>
                  <a:srgbClr val="3C6F82"/>
                </a:solidFill>
                <a:cs typeface="Segoe UI Semilight" panose="020B0402040204020203" pitchFamily="34" charset="0"/>
              </a:rPr>
              <a:t>01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795635" y="1710609"/>
            <a:ext cx="1419339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>
                <a:solidFill>
                  <a:srgbClr val="3C6F82"/>
                </a:solidFill>
                <a:cs typeface="Segoe UI Semilight" panose="020B0402040204020203" pitchFamily="34" charset="0"/>
              </a:rPr>
              <a:t>02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4443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343939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550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2467539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8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59" tIns="143409" rIns="179259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2791436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5824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5692890" cy="102287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942155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786965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belie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391182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406412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7" grpId="2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29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19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50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49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6.xml"/><Relationship Id="rId18" Type="http://schemas.openxmlformats.org/officeDocument/2006/relationships/slideLayout" Target="../slideLayouts/slideLayout271.xml"/><Relationship Id="rId26" Type="http://schemas.openxmlformats.org/officeDocument/2006/relationships/slideLayout" Target="../slideLayouts/slideLayout279.xml"/><Relationship Id="rId3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slideLayout" Target="../slideLayouts/slideLayout270.xml"/><Relationship Id="rId25" Type="http://schemas.openxmlformats.org/officeDocument/2006/relationships/slideLayout" Target="../slideLayouts/slideLayout27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20" Type="http://schemas.openxmlformats.org/officeDocument/2006/relationships/slideLayout" Target="../slideLayouts/slideLayout273.xml"/><Relationship Id="rId29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24" Type="http://schemas.openxmlformats.org/officeDocument/2006/relationships/slideLayout" Target="../slideLayouts/slideLayout277.xml"/><Relationship Id="rId32" Type="http://schemas.openxmlformats.org/officeDocument/2006/relationships/image" Target="../media/image33.png"/><Relationship Id="rId5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268.xml"/><Relationship Id="rId23" Type="http://schemas.openxmlformats.org/officeDocument/2006/relationships/slideLayout" Target="../slideLayouts/slideLayout276.xml"/><Relationship Id="rId28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2.xml"/><Relationship Id="rId31" Type="http://schemas.openxmlformats.org/officeDocument/2006/relationships/theme" Target="../theme/theme15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Relationship Id="rId22" Type="http://schemas.openxmlformats.org/officeDocument/2006/relationships/slideLayout" Target="../slideLayouts/slideLayout275.xml"/><Relationship Id="rId27" Type="http://schemas.openxmlformats.org/officeDocument/2006/relationships/slideLayout" Target="../slideLayouts/slideLayout280.xml"/><Relationship Id="rId30" Type="http://schemas.openxmlformats.org/officeDocument/2006/relationships/slideLayout" Target="../slideLayouts/slideLayout283.xml"/><Relationship Id="rId8" Type="http://schemas.openxmlformats.org/officeDocument/2006/relationships/slideLayout" Target="../slideLayouts/slideLayout26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26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5" Type="http://schemas.openxmlformats.org/officeDocument/2006/relationships/slideLayout" Target="../slideLayouts/slideLayout308.x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24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slideLayout" Target="../slideLayouts/slideLayout306.xml"/><Relationship Id="rId28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31" Type="http://schemas.openxmlformats.org/officeDocument/2006/relationships/image" Target="../media/image29.emf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slideLayout" Target="../slideLayouts/slideLayout305.xml"/><Relationship Id="rId27" Type="http://schemas.openxmlformats.org/officeDocument/2006/relationships/slideLayout" Target="../slideLayouts/slideLayout310.xml"/><Relationship Id="rId30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slideLayout" Target="../slideLayouts/slideLayout325.xml"/><Relationship Id="rId18" Type="http://schemas.openxmlformats.org/officeDocument/2006/relationships/slideLayout" Target="../slideLayouts/slideLayout330.xml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17" Type="http://schemas.openxmlformats.org/officeDocument/2006/relationships/slideLayout" Target="../slideLayouts/slideLayout329.xml"/><Relationship Id="rId2" Type="http://schemas.openxmlformats.org/officeDocument/2006/relationships/slideLayout" Target="../slideLayouts/slideLayout314.xml"/><Relationship Id="rId16" Type="http://schemas.openxmlformats.org/officeDocument/2006/relationships/slideLayout" Target="../slideLayouts/slideLayout32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5" Type="http://schemas.openxmlformats.org/officeDocument/2006/relationships/slideLayout" Target="../slideLayouts/slideLayout327.xml"/><Relationship Id="rId10" Type="http://schemas.openxmlformats.org/officeDocument/2006/relationships/slideLayout" Target="../slideLayouts/slideLayout322.xml"/><Relationship Id="rId19" Type="http://schemas.openxmlformats.org/officeDocument/2006/relationships/theme" Target="../theme/theme17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Relationship Id="rId14" Type="http://schemas.openxmlformats.org/officeDocument/2006/relationships/slideLayout" Target="../slideLayouts/slideLayout32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13" Type="http://schemas.openxmlformats.org/officeDocument/2006/relationships/slideLayout" Target="../slideLayouts/slideLayout343.xml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12" Type="http://schemas.openxmlformats.org/officeDocument/2006/relationships/slideLayout" Target="../slideLayouts/slideLayout342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Relationship Id="rId14" Type="http://schemas.openxmlformats.org/officeDocument/2006/relationships/theme" Target="../theme/theme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2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slideLayout" Target="../slideLayouts/slideLayout9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image" Target="../media/image19.png"/><Relationship Id="rId8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26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5.xml"/><Relationship Id="rId30" Type="http://schemas.openxmlformats.org/officeDocument/2006/relationships/image" Target="../media/image2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232858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 rot="5400000">
            <a:off x="9187081" y="3012391"/>
            <a:ext cx="6858623" cy="833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735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</p:sldLayoutIdLst>
  <p:transition>
    <p:fade/>
  </p:transition>
  <p:txStyles>
    <p:titleStyle>
      <a:lvl1pPr algn="l" defTabSz="914344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8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7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6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55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446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9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2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964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4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6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2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3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378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721487-8B7F-493B-8B57-62BA49E7B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54DF15-FA05-4A0F-8473-3C4660A5C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FE8759-22C2-468C-A375-06EB61BBC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E64FB3-BD4F-4CB3-9479-4360403CE383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3FC92-B2A4-4CC8-A0C7-B966B0955B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AB0586-BA76-4E19-8CCC-FB785A071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2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</p:sldLayoutIdLst>
  <p:txStyles>
    <p:titleStyle>
      <a:lvl1pPr algn="l" defTabSz="91395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87" indent="-228487" algn="l" defTabSz="91395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46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43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413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38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364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39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31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87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26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9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2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8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291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9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268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44" marR="0" indent="-336044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19" marR="0" indent="-236475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03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32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161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9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81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</p:sldLayoutIdLst>
  <p:transition>
    <p:fade/>
  </p:transition>
  <p:txStyles>
    <p:titleStyle>
      <a:lvl1pPr algn="l" defTabSz="913918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79" marR="0" indent="-33597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09" marR="0" indent="-23642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3952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7939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1924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27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3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91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9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391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6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4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3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2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871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C9B1B5-B09F-4B98-AFC2-1B4B55BE018E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 rot="5400000">
            <a:off x="9044629" y="3216843"/>
            <a:ext cx="6858000" cy="42431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224112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110106"/>
            <a:ext cx="11336039" cy="2031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755482" y="3012080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02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  <p:sldLayoutId id="2147483983" r:id="rId22"/>
    <p:sldLayoutId id="2147483984" r:id="rId23"/>
    <p:sldLayoutId id="2147483985" r:id="rId24"/>
    <p:sldLayoutId id="2147483986" r:id="rId25"/>
    <p:sldLayoutId id="2147483987" r:id="rId26"/>
    <p:sldLayoutId id="2147483988" r:id="rId27"/>
    <p:sldLayoutId id="2147483989" r:id="rId28"/>
    <p:sldLayoutId id="2147483990" r:id="rId29"/>
    <p:sldLayoutId id="2147483991" r:id="rId30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47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2745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68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  <p:sldLayoutId id="2147484007" r:id="rId15"/>
    <p:sldLayoutId id="2147484008" r:id="rId16"/>
    <p:sldLayoutId id="2147484009" r:id="rId17"/>
    <p:sldLayoutId id="2147484010" r:id="rId18"/>
    <p:sldLayoutId id="2147484011" r:id="rId19"/>
    <p:sldLayoutId id="2147484012" r:id="rId20"/>
    <p:sldLayoutId id="2147484013" r:id="rId21"/>
    <p:sldLayoutId id="2147484014" r:id="rId22"/>
    <p:sldLayoutId id="2147484015" r:id="rId23"/>
    <p:sldLayoutId id="2147484016" r:id="rId24"/>
    <p:sldLayoutId id="2147484017" r:id="rId25"/>
    <p:sldLayoutId id="2147484018" r:id="rId26"/>
    <p:sldLayoutId id="2147484019" r:id="rId27"/>
    <p:sldLayoutId id="2147484020" r:id="rId28"/>
    <p:sldLayoutId id="2147484021" r:id="rId2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547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8" r:id="rId16"/>
    <p:sldLayoutId id="2147484039" r:id="rId17"/>
    <p:sldLayoutId id="2147484040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E8575F-D8DD-42A5-9FE8-047E715E5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C2D88A-0007-4284-9A51-F813D08A12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A36CD1-394F-46E4-B462-1E5100C0BC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4B1DD-D6C5-4790-BA5B-E6C4876836FA}" type="datetimeFigureOut">
              <a:rPr lang="en-IN" smtClean="0"/>
              <a:t>04-02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1F6F-A9D0-46B0-9303-8E37BDCED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E92A38-181F-4875-A52E-2B0896804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53E285-EB91-46AB-B97B-BE9E0CB66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9931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6" y="334170"/>
            <a:ext cx="11573621" cy="892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6" y="1794669"/>
            <a:ext cx="11573621" cy="36096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59289" y="2932714"/>
            <a:ext cx="6724751" cy="859326"/>
          </a:xfrm>
          <a:prstGeom prst="rect">
            <a:avLst/>
          </a:prstGeom>
        </p:spPr>
      </p:pic>
      <p:pic>
        <p:nvPicPr>
          <p:cNvPr id="8" name="Picture 7" descr="https://upload.wikimedia.org/wikipedia/commons/thumb/9/96/Microsoft_logo_(2012).svg/2000px-Microsoft_logo_(2012).svg.png"/>
          <p:cNvPicPr/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54982" y="-401215"/>
            <a:ext cx="1143000" cy="2463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183684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4" r:id="rId14"/>
  </p:sldLayoutIdLst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5399" kern="1200">
          <a:solidFill>
            <a:schemeClr val="bg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6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58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20" r:id="rId5"/>
    <p:sldLayoutId id="2147483723" r:id="rId6"/>
    <p:sldLayoutId id="2147483724" r:id="rId7"/>
    <p:sldLayoutId id="2147483757" r:id="rId8"/>
    <p:sldLayoutId id="2147483758" r:id="rId9"/>
    <p:sldLayoutId id="2147483817" r:id="rId10"/>
    <p:sldLayoutId id="2147483818" r:id="rId11"/>
    <p:sldLayoutId id="2147483819" r:id="rId12"/>
    <p:sldLayoutId id="2147483820" r:id="rId1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164464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2" y="1906414"/>
            <a:ext cx="4214127" cy="40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00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  <p:sldLayoutId id="2147483753" r:id="rId28"/>
    <p:sldLayoutId id="2147483754" r:id="rId29"/>
    <p:sldLayoutId id="2147483755" r:id="rId30"/>
    <p:sldLayoutId id="2147483814" r:id="rId31"/>
    <p:sldLayoutId id="2147483815" r:id="rId32"/>
    <p:sldLayoutId id="2147483816" r:id="rId3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31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13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5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19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25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4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1" y="1435505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5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1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94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</p:sldLayoutIdLst>
  <p:transition>
    <p:fade/>
  </p:transition>
  <p:hf sldNum="0" hdr="0" ftr="0" dt="0"/>
  <p:txStyles>
    <p:titleStyle>
      <a:lvl1pPr algn="l" defTabSz="932462" rtl="0" eaLnBrk="1" latinLnBrk="0" hangingPunct="1">
        <a:lnSpc>
          <a:spcPct val="100000"/>
        </a:lnSpc>
        <a:spcBef>
          <a:spcPct val="0"/>
        </a:spcBef>
        <a:buNone/>
        <a:defRPr lang="en-US" sz="3599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31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063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28" marR="0" indent="-19996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710" marR="0" indent="-18092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631" marR="0" indent="-16822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270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3030503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96734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962966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66231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32462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98693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64924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331156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97387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63618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72985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5.sv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0" Type="http://schemas.openxmlformats.org/officeDocument/2006/relationships/image" Target="../media/image69.svg"/><Relationship Id="rId4" Type="http://schemas.openxmlformats.org/officeDocument/2006/relationships/image" Target="../media/image63.svg"/><Relationship Id="rId9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jpg"/><Relationship Id="rId18" Type="http://schemas.openxmlformats.org/officeDocument/2006/relationships/image" Target="../media/image87.jpeg"/><Relationship Id="rId3" Type="http://schemas.openxmlformats.org/officeDocument/2006/relationships/image" Target="../media/image50.emf"/><Relationship Id="rId7" Type="http://schemas.openxmlformats.org/officeDocument/2006/relationships/image" Target="../media/image76.svg"/><Relationship Id="rId12" Type="http://schemas.openxmlformats.org/officeDocument/2006/relationships/image" Target="../media/image81.jpeg"/><Relationship Id="rId17" Type="http://schemas.openxmlformats.org/officeDocument/2006/relationships/image" Target="../media/image86.jpeg"/><Relationship Id="rId2" Type="http://schemas.openxmlformats.org/officeDocument/2006/relationships/image" Target="../media/image72.png"/><Relationship Id="rId16" Type="http://schemas.openxmlformats.org/officeDocument/2006/relationships/image" Target="../media/image85.jpeg"/><Relationship Id="rId1" Type="http://schemas.openxmlformats.org/officeDocument/2006/relationships/slideLayout" Target="../slideLayouts/slideLayout314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svg"/><Relationship Id="rId15" Type="http://schemas.openxmlformats.org/officeDocument/2006/relationships/image" Target="../media/image84.jpeg"/><Relationship Id="rId10" Type="http://schemas.openxmlformats.org/officeDocument/2006/relationships/image" Target="../media/image79.jpeg"/><Relationship Id="rId19" Type="http://schemas.openxmlformats.org/officeDocument/2006/relationships/image" Target="../media/image88.jpeg"/><Relationship Id="rId4" Type="http://schemas.openxmlformats.org/officeDocument/2006/relationships/image" Target="../media/image73.png"/><Relationship Id="rId9" Type="http://schemas.openxmlformats.org/officeDocument/2006/relationships/image" Target="../media/image78.jpeg"/><Relationship Id="rId14" Type="http://schemas.openxmlformats.org/officeDocument/2006/relationships/image" Target="../media/image8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0.xml"/><Relationship Id="rId4" Type="http://schemas.openxmlformats.org/officeDocument/2006/relationships/image" Target="../media/image9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image" Target="../media/image98.emf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74.svg"/><Relationship Id="rId5" Type="http://schemas.openxmlformats.org/officeDocument/2006/relationships/image" Target="../media/image100.png"/><Relationship Id="rId4" Type="http://schemas.openxmlformats.org/officeDocument/2006/relationships/image" Target="../media/image50.emf"/><Relationship Id="rId9" Type="http://schemas.openxmlformats.org/officeDocument/2006/relationships/image" Target="../media/image10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data-factory/connector-azure-sql-data-warehouse#use-polybase-to-load-data-into-azure-sql-data-warehouse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allery.technet.microsoft.com/Overview-of-Azure-c1be3942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emf"/><Relationship Id="rId13" Type="http://schemas.openxmlformats.org/officeDocument/2006/relationships/image" Target="../media/image113.emf"/><Relationship Id="rId3" Type="http://schemas.openxmlformats.org/officeDocument/2006/relationships/image" Target="../media/image104.emf"/><Relationship Id="rId7" Type="http://schemas.openxmlformats.org/officeDocument/2006/relationships/image" Target="../media/image108.emf"/><Relationship Id="rId12" Type="http://schemas.openxmlformats.org/officeDocument/2006/relationships/image" Target="../media/image112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07.emf"/><Relationship Id="rId11" Type="http://schemas.openxmlformats.org/officeDocument/2006/relationships/image" Target="../media/image111.emf"/><Relationship Id="rId5" Type="http://schemas.openxmlformats.org/officeDocument/2006/relationships/image" Target="../media/image106.emf"/><Relationship Id="rId15" Type="http://schemas.openxmlformats.org/officeDocument/2006/relationships/image" Target="../media/image93.png"/><Relationship Id="rId10" Type="http://schemas.openxmlformats.org/officeDocument/2006/relationships/image" Target="../media/image110.emf"/><Relationship Id="rId4" Type="http://schemas.openxmlformats.org/officeDocument/2006/relationships/image" Target="../media/image105.emf"/><Relationship Id="rId9" Type="http://schemas.openxmlformats.org/officeDocument/2006/relationships/image" Target="../media/image98.emf"/><Relationship Id="rId14" Type="http://schemas.openxmlformats.org/officeDocument/2006/relationships/image" Target="../media/image9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emf"/><Relationship Id="rId13" Type="http://schemas.openxmlformats.org/officeDocument/2006/relationships/image" Target="../media/image98.emf"/><Relationship Id="rId18" Type="http://schemas.openxmlformats.org/officeDocument/2006/relationships/image" Target="../media/image92.png"/><Relationship Id="rId3" Type="http://schemas.openxmlformats.org/officeDocument/2006/relationships/image" Target="../media/image104.emf"/><Relationship Id="rId7" Type="http://schemas.openxmlformats.org/officeDocument/2006/relationships/image" Target="../media/image101.emf"/><Relationship Id="rId12" Type="http://schemas.openxmlformats.org/officeDocument/2006/relationships/image" Target="../media/image109.emf"/><Relationship Id="rId17" Type="http://schemas.openxmlformats.org/officeDocument/2006/relationships/image" Target="../media/image93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16.emf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14.emf"/><Relationship Id="rId11" Type="http://schemas.openxmlformats.org/officeDocument/2006/relationships/image" Target="../media/image108.emf"/><Relationship Id="rId5" Type="http://schemas.openxmlformats.org/officeDocument/2006/relationships/image" Target="../media/image106.emf"/><Relationship Id="rId15" Type="http://schemas.openxmlformats.org/officeDocument/2006/relationships/image" Target="../media/image111.emf"/><Relationship Id="rId10" Type="http://schemas.openxmlformats.org/officeDocument/2006/relationships/image" Target="../media/image107.emf"/><Relationship Id="rId4" Type="http://schemas.openxmlformats.org/officeDocument/2006/relationships/image" Target="../media/image105.emf"/><Relationship Id="rId9" Type="http://schemas.openxmlformats.org/officeDocument/2006/relationships/image" Target="../media/image115.emf"/><Relationship Id="rId14" Type="http://schemas.openxmlformats.org/officeDocument/2006/relationships/image" Target="../media/image11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32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12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jpg"/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na01.safelinks.protection.outlook.com/?url=https%3A%2F%2Fforms.office.com%2FPages%2FResponsePage.aspx%3Fid%3Dv4j5cvGGr0GRqy180BHbR9g5Y0-A-41OqCZJR9k5fl5UNlJUVk1VTDA4OTE4WFBUNUxESUFWSTNORi4u&amp;data=02%7C01%7Cqingyue.wang%40microsoft.com%7C3bcec7f72fcf41bd838408d6884df87f%7C72f988bf86f141af91ab2d7cd011db47%7C1%7C0%7C636846265816090789&amp;sdata=8C7t%2FBiNgzeGPI22RDKVmVZi2T3CUPeTaPWvccTqjBU%3D&amp;reserved=0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tmp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50.emf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5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6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027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3979888-81B7-4B5F-B4B5-70ED2543E769}"/>
              </a:ext>
            </a:extLst>
          </p:cNvPr>
          <p:cNvSpPr/>
          <p:nvPr/>
        </p:nvSpPr>
        <p:spPr bwMode="auto">
          <a:xfrm>
            <a:off x="0" y="2982676"/>
            <a:ext cx="12192000" cy="38753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386409-3525-4A1A-8A60-22C3A15446D2}"/>
              </a:ext>
            </a:extLst>
          </p:cNvPr>
          <p:cNvSpPr/>
          <p:nvPr/>
        </p:nvSpPr>
        <p:spPr>
          <a:xfrm>
            <a:off x="3765455" y="631015"/>
            <a:ext cx="435728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400" b="1" spc="-147">
                <a:ln w="3175">
                  <a:noFill/>
                </a:ln>
                <a:solidFill>
                  <a:srgbClr val="FFFFFF"/>
                </a:solidFill>
                <a:latin typeface="+mj-lt"/>
                <a:ea typeface="+mj-ea"/>
                <a:cs typeface="+mj-cs"/>
              </a:rPr>
              <a:t>Azure Data Factor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4157E4E-DB31-4304-97F9-4235A47F50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4611" y="703752"/>
            <a:ext cx="1448447" cy="14419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999E0C9-4433-4A50-8A4E-7209A3B5C0D0}"/>
              </a:ext>
            </a:extLst>
          </p:cNvPr>
          <p:cNvSpPr txBox="1"/>
          <p:nvPr/>
        </p:nvSpPr>
        <p:spPr>
          <a:xfrm>
            <a:off x="3765455" y="1473193"/>
            <a:ext cx="53917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93"/>
            <a:r>
              <a:rPr lang="en-US" sz="2400" spc="-10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A fully-managed data integration service </a:t>
            </a:r>
          </a:p>
          <a:p>
            <a:pPr defTabSz="914093"/>
            <a:r>
              <a:rPr lang="en-US" sz="2400" spc="-10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for cloud-scale analytics in Az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970C6A-290F-4DC8-A566-07CEF14CA583}"/>
              </a:ext>
            </a:extLst>
          </p:cNvPr>
          <p:cNvSpPr/>
          <p:nvPr/>
        </p:nvSpPr>
        <p:spPr>
          <a:xfrm>
            <a:off x="4162831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/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alable &amp; Cost-Effect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1F6C7D-7539-41BF-B4D6-7A3C64CF49EC}"/>
              </a:ext>
            </a:extLst>
          </p:cNvPr>
          <p:cNvSpPr/>
          <p:nvPr/>
        </p:nvSpPr>
        <p:spPr>
          <a:xfrm>
            <a:off x="1379774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nected &amp; Integrat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2E7519-6B05-4CC4-97DB-961EFC2CF276}"/>
              </a:ext>
            </a:extLst>
          </p:cNvPr>
          <p:cNvSpPr/>
          <p:nvPr/>
        </p:nvSpPr>
        <p:spPr>
          <a:xfrm>
            <a:off x="9378868" y="4458186"/>
            <a:ext cx="194171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116311-80A8-43A5-A363-EF155F37B0E7}"/>
              </a:ext>
            </a:extLst>
          </p:cNvPr>
          <p:cNvSpPr/>
          <p:nvPr/>
        </p:nvSpPr>
        <p:spPr>
          <a:xfrm>
            <a:off x="6702306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cure &amp; Complia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AF1ABF-B4F8-425A-93D4-D11F300E0ED0}"/>
              </a:ext>
            </a:extLst>
          </p:cNvPr>
          <p:cNvSpPr/>
          <p:nvPr/>
        </p:nvSpPr>
        <p:spPr>
          <a:xfrm>
            <a:off x="1421339" y="5140093"/>
            <a:ext cx="1970672" cy="1175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Rich connectiv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Flexible orchestration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Full integration with Azure Data servi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1CF7133-F172-4661-AEEE-8805F3F81D3F}"/>
              </a:ext>
            </a:extLst>
          </p:cNvPr>
          <p:cNvSpPr/>
          <p:nvPr/>
        </p:nvSpPr>
        <p:spPr>
          <a:xfrm>
            <a:off x="9654003" y="5140093"/>
            <a:ext cx="1970672" cy="1545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Drag &amp; drop UI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Single-pane-of-glass monitoring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CICD model</a:t>
            </a:r>
          </a:p>
          <a:p>
            <a:pPr marL="279983" indent="-279983" defTabSz="913742">
              <a:buFont typeface="Wingdings" panose="05000000000000000000" pitchFamily="2" charset="2"/>
              <a:buChar char="ü"/>
              <a:defRPr/>
            </a:pPr>
            <a:endParaRPr lang="en-US" sz="1400">
              <a:solidFill>
                <a:srgbClr val="0078D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A1E9BB-3F5E-4564-9BD8-1933156F7C00}"/>
              </a:ext>
            </a:extLst>
          </p:cNvPr>
          <p:cNvSpPr/>
          <p:nvPr/>
        </p:nvSpPr>
        <p:spPr>
          <a:xfrm>
            <a:off x="4282608" y="5140093"/>
            <a:ext cx="1969258" cy="827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Serverless scalability without infra mgmt.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Pay for us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DF84E-BA03-496C-8F32-6B15421F7E7F}"/>
              </a:ext>
            </a:extLst>
          </p:cNvPr>
          <p:cNvSpPr/>
          <p:nvPr/>
        </p:nvSpPr>
        <p:spPr>
          <a:xfrm>
            <a:off x="6859285" y="5140093"/>
            <a:ext cx="2087287" cy="9702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Certified compliance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Enterprise grade secur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>
                <a:solidFill>
                  <a:schemeClr val="accent1"/>
                </a:solidFill>
                <a:latin typeface="Segoe UI"/>
              </a:rPr>
              <a:t>MSI and AKV support</a:t>
            </a:r>
          </a:p>
        </p:txBody>
      </p:sp>
      <p:pic>
        <p:nvPicPr>
          <p:cNvPr id="19" name="Graphic 18" descr="Network">
            <a:extLst>
              <a:ext uri="{FF2B5EF4-FFF2-40B4-BE49-F238E27FC236}">
                <a16:creationId xmlns:a16="http://schemas.microsoft.com/office/drawing/2014/main" id="{B7024731-9B99-423C-ADB1-98AE445212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93433" y="3320504"/>
            <a:ext cx="914400" cy="914400"/>
          </a:xfrm>
          <a:prstGeom prst="rect">
            <a:avLst/>
          </a:prstGeom>
        </p:spPr>
      </p:pic>
      <p:pic>
        <p:nvPicPr>
          <p:cNvPr id="21" name="Graphic 20" descr="Upward trend">
            <a:extLst>
              <a:ext uri="{FF2B5EF4-FFF2-40B4-BE49-F238E27FC236}">
                <a16:creationId xmlns:a16="http://schemas.microsoft.com/office/drawing/2014/main" id="{3D2A56B4-AD9C-4AD5-A492-578A473DB1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76490" y="3320504"/>
            <a:ext cx="914400" cy="914400"/>
          </a:xfrm>
          <a:prstGeom prst="rect">
            <a:avLst/>
          </a:prstGeom>
        </p:spPr>
      </p:pic>
      <p:pic>
        <p:nvPicPr>
          <p:cNvPr id="25" name="Graphic 24" descr="Lock">
            <a:extLst>
              <a:ext uri="{FF2B5EF4-FFF2-40B4-BE49-F238E27FC236}">
                <a16:creationId xmlns:a16="http://schemas.microsoft.com/office/drawing/2014/main" id="{F133A09A-CDB5-48E6-B946-9176594272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06767" y="3320504"/>
            <a:ext cx="914400" cy="914400"/>
          </a:xfrm>
          <a:prstGeom prst="rect">
            <a:avLst/>
          </a:prstGeom>
        </p:spPr>
      </p:pic>
      <p:pic>
        <p:nvPicPr>
          <p:cNvPr id="27" name="Graphic 26" descr="Stopwatch">
            <a:extLst>
              <a:ext uri="{FF2B5EF4-FFF2-40B4-BE49-F238E27FC236}">
                <a16:creationId xmlns:a16="http://schemas.microsoft.com/office/drawing/2014/main" id="{E2363892-779D-4074-90B0-4E9A77A5C4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885503" y="33205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21404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2B4B5BD-5D8E-4F06-87B6-19D6E846C076}"/>
              </a:ext>
            </a:extLst>
          </p:cNvPr>
          <p:cNvSpPr/>
          <p:nvPr/>
        </p:nvSpPr>
        <p:spPr bwMode="auto">
          <a:xfrm>
            <a:off x="5434592" y="4248784"/>
            <a:ext cx="2641466" cy="2492237"/>
          </a:xfrm>
          <a:prstGeom prst="roundRect">
            <a:avLst/>
          </a:prstGeom>
          <a:solidFill>
            <a:schemeClr val="bg1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1" i="0" u="none" strike="noStrike" kern="0" cap="none" spc="0" normalizeH="0" baseline="0" noProof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Freeform 5">
            <a:extLst>
              <a:ext uri="{FF2B5EF4-FFF2-40B4-BE49-F238E27FC236}">
                <a16:creationId xmlns:a16="http://schemas.microsoft.com/office/drawing/2014/main" id="{8DAA641D-66AF-48AF-BEF1-BD5E3652492F}"/>
              </a:ext>
            </a:extLst>
          </p:cNvPr>
          <p:cNvSpPr>
            <a:spLocks noChangeAspect="1"/>
          </p:cNvSpPr>
          <p:nvPr/>
        </p:nvSpPr>
        <p:spPr bwMode="black">
          <a:xfrm>
            <a:off x="8943798" y="5599953"/>
            <a:ext cx="3066301" cy="1216973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5984399" y="142109"/>
            <a:ext cx="5378549" cy="216636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731420" y="1636149"/>
            <a:ext cx="4196176" cy="1143425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zure Data Factory v2 Servi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9EA186-9883-431C-AA23-13E9D056A966}"/>
              </a:ext>
            </a:extLst>
          </p:cNvPr>
          <p:cNvSpPr txBox="1"/>
          <p:nvPr/>
        </p:nvSpPr>
        <p:spPr>
          <a:xfrm>
            <a:off x="6494032" y="1902421"/>
            <a:ext cx="4719513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0928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Scheduling | Orchestration | Monitoring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 flipH="1">
            <a:off x="8961735" y="1439279"/>
            <a:ext cx="1" cy="1778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731420" y="841876"/>
            <a:ext cx="4196176" cy="51862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uthoring  | Monitoring/Mgm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3D93E9B-7D38-4A37-9797-D94A972233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2846" y="899996"/>
            <a:ext cx="382603" cy="362644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B221E4C-07E8-418B-9E78-834B1C106DAF}"/>
              </a:ext>
            </a:extLst>
          </p:cNvPr>
          <p:cNvSpPr/>
          <p:nvPr/>
        </p:nvSpPr>
        <p:spPr bwMode="auto">
          <a:xfrm>
            <a:off x="6059102" y="4536049"/>
            <a:ext cx="1209553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lf Hosted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Runtime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87975" y="4066146"/>
            <a:ext cx="3066301" cy="160160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1030F99-B296-4B8D-BA2B-2719DB1D75A4}"/>
              </a:ext>
            </a:extLst>
          </p:cNvPr>
          <p:cNvSpPr txBox="1"/>
          <p:nvPr/>
        </p:nvSpPr>
        <p:spPr>
          <a:xfrm>
            <a:off x="9687997" y="5168818"/>
            <a:ext cx="1328860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Svcs 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82F6FEA-6ADE-4725-89D7-C4DB5DF6BD1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</a:blip>
          <a:stretch>
            <a:fillRect/>
          </a:stretch>
        </p:blipFill>
        <p:spPr>
          <a:xfrm>
            <a:off x="5536187" y="5286904"/>
            <a:ext cx="674300" cy="1334256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C19C66A0-EE66-4B13-B748-6018CDE0DDA7}"/>
              </a:ext>
            </a:extLst>
          </p:cNvPr>
          <p:cNvSpPr txBox="1"/>
          <p:nvPr/>
        </p:nvSpPr>
        <p:spPr>
          <a:xfrm>
            <a:off x="6112084" y="5474721"/>
            <a:ext cx="2103660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On Prem Apps &amp; Data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702196" y="4424925"/>
            <a:ext cx="1567135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Azure</a:t>
            </a: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Runtime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DA2F3E5-6B52-4C08-BBF6-634DDA94B45F}"/>
              </a:ext>
            </a:extLst>
          </p:cNvPr>
          <p:cNvGrpSpPr/>
          <p:nvPr/>
        </p:nvGrpSpPr>
        <p:grpSpPr>
          <a:xfrm>
            <a:off x="6670234" y="4030453"/>
            <a:ext cx="1031621" cy="409182"/>
            <a:chOff x="1570037" y="2467828"/>
            <a:chExt cx="1052307" cy="41738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9D55D25-55CA-45FE-9FD9-6CC47F4EDB69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8" name="Graphic 37" descr="Table">
              <a:extLst>
                <a:ext uri="{FF2B5EF4-FFF2-40B4-BE49-F238E27FC236}">
                  <a16:creationId xmlns:a16="http://schemas.microsoft.com/office/drawing/2014/main" id="{6B4F9E13-A5DD-4336-BA97-75C8652A7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42" name="Graphic 41" descr="Bonfire">
            <a:extLst>
              <a:ext uri="{FF2B5EF4-FFF2-40B4-BE49-F238E27FC236}">
                <a16:creationId xmlns:a16="http://schemas.microsoft.com/office/drawing/2014/main" id="{97B86723-0FB8-42F6-B7A4-BD7C3C54A1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82668" y="3725101"/>
            <a:ext cx="413019" cy="413019"/>
          </a:xfrm>
          <a:prstGeom prst="rect">
            <a:avLst/>
          </a:prstGeom>
        </p:spPr>
      </p:pic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241560" y="182116"/>
            <a:ext cx="467743" cy="798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241560" y="518651"/>
            <a:ext cx="48028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603473" y="-63348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583122" y="279970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ata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  <a:endCxn id="17" idx="2"/>
          </p:cNvCxnSpPr>
          <p:nvPr/>
        </p:nvCxnSpPr>
        <p:spPr>
          <a:xfrm flipH="1" flipV="1">
            <a:off x="8829508" y="2779574"/>
            <a:ext cx="1656256" cy="164535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4CED6A6-F53E-4397-9639-240C0B56D184}"/>
              </a:ext>
            </a:extLst>
          </p:cNvPr>
          <p:cNvCxnSpPr>
            <a:cxnSpLocks/>
            <a:stCxn id="27" idx="0"/>
            <a:endCxn id="17" idx="2"/>
          </p:cNvCxnSpPr>
          <p:nvPr/>
        </p:nvCxnSpPr>
        <p:spPr>
          <a:xfrm flipV="1">
            <a:off x="6663879" y="2779574"/>
            <a:ext cx="2165630" cy="17564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7261494" y="2267520"/>
            <a:ext cx="1921341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7580496" y="2433620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7997140" y="2429612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8429617" y="2338479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8429617" y="2540785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7811108" y="2486713"/>
            <a:ext cx="186032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246461" y="2395580"/>
            <a:ext cx="183156" cy="10462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224180" y="2486713"/>
            <a:ext cx="205437" cy="11117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8823079" y="2537586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8673674" y="2608183"/>
            <a:ext cx="15514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4DE9E213-8A65-4530-A23F-78AC4A9B9D14}"/>
              </a:ext>
            </a:extLst>
          </p:cNvPr>
          <p:cNvSpPr/>
          <p:nvPr/>
        </p:nvSpPr>
        <p:spPr bwMode="auto">
          <a:xfrm>
            <a:off x="9427855" y="2264447"/>
            <a:ext cx="963967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SSIS Package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endCxn id="27" idx="3"/>
          </p:cNvCxnSpPr>
          <p:nvPr/>
        </p:nvCxnSpPr>
        <p:spPr>
          <a:xfrm flipH="1" flipV="1">
            <a:off x="7268655" y="4804247"/>
            <a:ext cx="1657781" cy="81966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87F235D6-C9D6-4134-8F25-3D566BA3C7B5}"/>
              </a:ext>
            </a:extLst>
          </p:cNvPr>
          <p:cNvCxnSpPr>
            <a:cxnSpLocks/>
            <a:endCxn id="27" idx="2"/>
          </p:cNvCxnSpPr>
          <p:nvPr/>
        </p:nvCxnSpPr>
        <p:spPr>
          <a:xfrm flipH="1" flipV="1">
            <a:off x="6663879" y="5072446"/>
            <a:ext cx="6356" cy="4548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E8D658E-5222-4EA5-A452-5AA9AA49C4D8}"/>
              </a:ext>
            </a:extLst>
          </p:cNvPr>
          <p:cNvGrpSpPr/>
          <p:nvPr/>
        </p:nvGrpSpPr>
        <p:grpSpPr>
          <a:xfrm>
            <a:off x="10985615" y="4976064"/>
            <a:ext cx="138282" cy="868618"/>
            <a:chOff x="5868071" y="4976064"/>
            <a:chExt cx="138282" cy="868618"/>
          </a:xfrm>
        </p:grpSpPr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64200DD0-D3DA-4CB7-B918-33C27B988E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68071" y="4976064"/>
              <a:ext cx="0" cy="868618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83D0E7C0-5B90-445F-9EB8-2D022FB2918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996526" y="4976065"/>
              <a:ext cx="9827" cy="862947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1648413-F9FF-4CB3-92FF-125136A3EC96}"/>
              </a:ext>
            </a:extLst>
          </p:cNvPr>
          <p:cNvCxnSpPr>
            <a:cxnSpLocks/>
          </p:cNvCxnSpPr>
          <p:nvPr/>
        </p:nvCxnSpPr>
        <p:spPr>
          <a:xfrm flipH="1" flipV="1">
            <a:off x="6509902" y="5100045"/>
            <a:ext cx="5302" cy="427222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7268619" y="2269029"/>
            <a:ext cx="1554459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rPr>
              <a:t>Pipeline</a:t>
            </a:r>
          </a:p>
        </p:txBody>
      </p:sp>
      <p:pic>
        <p:nvPicPr>
          <p:cNvPr id="47" name="Picture 8" descr="Image result for Amazon AWS">
            <a:extLst>
              <a:ext uri="{FF2B5EF4-FFF2-40B4-BE49-F238E27FC236}">
                <a16:creationId xmlns:a16="http://schemas.microsoft.com/office/drawing/2014/main" id="{AED0228B-4662-48D0-A884-3AD0D6B01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23835" y="6510226"/>
            <a:ext cx="611377" cy="221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B59F154E-2E9A-4649-931F-2488C923D36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1714" y="6254697"/>
            <a:ext cx="524811" cy="366463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58ACCCB9-6A0C-46BD-BC00-2FBB592D437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01382" y="6273040"/>
            <a:ext cx="628713" cy="24676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A8019C1-297B-46D4-8B9C-D0E410E9EEB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0089" y="6486522"/>
            <a:ext cx="391592" cy="220270"/>
          </a:xfrm>
          <a:prstGeom prst="rect">
            <a:avLst/>
          </a:prstGeom>
        </p:spPr>
      </p:pic>
      <p:pic>
        <p:nvPicPr>
          <p:cNvPr id="3" name="Picture 2" descr="A drawing of a cartoon character&#10;&#10;Description generated with high confidence">
            <a:extLst>
              <a:ext uri="{FF2B5EF4-FFF2-40B4-BE49-F238E27FC236}">
                <a16:creationId xmlns:a16="http://schemas.microsoft.com/office/drawing/2014/main" id="{661D5180-C214-402E-A2B1-171F6C5B2BB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9968" y="6464977"/>
            <a:ext cx="340285" cy="3448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FA2849-DC78-40EC-93CE-78C45A0F683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34" b="38831"/>
          <a:stretch/>
        </p:blipFill>
        <p:spPr>
          <a:xfrm>
            <a:off x="10513563" y="6621161"/>
            <a:ext cx="554827" cy="131496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9DAB203B-13A8-4B70-8185-01AE4D4DB4CD}"/>
              </a:ext>
            </a:extLst>
          </p:cNvPr>
          <p:cNvSpPr txBox="1"/>
          <p:nvPr/>
        </p:nvSpPr>
        <p:spPr>
          <a:xfrm>
            <a:off x="9687997" y="5839522"/>
            <a:ext cx="2370841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loud &amp; Saa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919B3A7B-BEA4-4F69-8782-604057891238}"/>
              </a:ext>
            </a:extLst>
          </p:cNvPr>
          <p:cNvCxnSpPr>
            <a:cxnSpLocks/>
          </p:cNvCxnSpPr>
          <p:nvPr/>
        </p:nvCxnSpPr>
        <p:spPr>
          <a:xfrm flipV="1">
            <a:off x="10135236" y="4999466"/>
            <a:ext cx="0" cy="28743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120FF923-36A0-419D-B58E-DEEA26F70C64}"/>
              </a:ext>
            </a:extLst>
          </p:cNvPr>
          <p:cNvCxnSpPr>
            <a:cxnSpLocks/>
          </p:cNvCxnSpPr>
          <p:nvPr/>
        </p:nvCxnSpPr>
        <p:spPr>
          <a:xfrm flipV="1">
            <a:off x="10313435" y="4999467"/>
            <a:ext cx="0" cy="28743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D3ED15F6-0F84-442D-8CD2-54875DB803F8}"/>
              </a:ext>
            </a:extLst>
          </p:cNvPr>
          <p:cNvSpPr txBox="1"/>
          <p:nvPr/>
        </p:nvSpPr>
        <p:spPr>
          <a:xfrm>
            <a:off x="9270782" y="86305"/>
            <a:ext cx="1328860" cy="45585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DACE255A-4F36-4CD2-9B2F-AD025D688BD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299" y="6092685"/>
            <a:ext cx="417206" cy="21138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8B6F3FE8-BFEA-4591-AA21-451E60ECEE1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8121" y="6308417"/>
            <a:ext cx="491661" cy="211383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D0CDDBD7-549E-4A7F-9669-60D1F5A734C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2336" y="6519800"/>
            <a:ext cx="450827" cy="124766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0045662A-EACD-4287-B00B-BBA6EFD4560D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912" y="6106510"/>
            <a:ext cx="695872" cy="187875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039992B6-A7DD-4668-B9EE-D7684C75AE04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833" y="6360885"/>
            <a:ext cx="690897" cy="131599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D729F4EF-C00B-4F83-AA2C-837980FC49C6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8296" y="6016124"/>
            <a:ext cx="379699" cy="308585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190EB120-CED2-44F4-8F3A-793E51611A56}"/>
              </a:ext>
            </a:extLst>
          </p:cNvPr>
          <p:cNvSpPr/>
          <p:nvPr/>
        </p:nvSpPr>
        <p:spPr bwMode="auto">
          <a:xfrm>
            <a:off x="-5230" y="973"/>
            <a:ext cx="4798562" cy="68570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1CD1D13-991D-44D7-AF80-D9070DC7C3CA}"/>
              </a:ext>
            </a:extLst>
          </p:cNvPr>
          <p:cNvSpPr/>
          <p:nvPr/>
        </p:nvSpPr>
        <p:spPr>
          <a:xfrm>
            <a:off x="245818" y="1187230"/>
            <a:ext cx="4721346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Factory</a:t>
            </a:r>
            <a:endParaRPr lang="en-US" sz="24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data integration account.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ocation of orchestration, service metadata</a:t>
            </a:r>
            <a:endParaRPr lang="en-US" sz="24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sz="320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egration Runtime (IR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F’s execution engine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ree core capabilities: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ipeline activity execution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SIS package execution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2093F48-ED1B-4198-90BE-76F868168C29}"/>
              </a:ext>
            </a:extLst>
          </p:cNvPr>
          <p:cNvSpPr txBox="1">
            <a:spLocks/>
          </p:cNvSpPr>
          <p:nvPr/>
        </p:nvSpPr>
        <p:spPr>
          <a:xfrm>
            <a:off x="209589" y="175258"/>
            <a:ext cx="11023275" cy="64396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2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rchitecture</a:t>
            </a:r>
          </a:p>
        </p:txBody>
      </p:sp>
    </p:spTree>
    <p:extLst>
      <p:ext uri="{BB962C8B-B14F-4D97-AF65-F5344CB8AC3E}">
        <p14:creationId xmlns:p14="http://schemas.microsoft.com/office/powerpoint/2010/main" val="247400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ADF Key Concepts</a:t>
            </a:r>
          </a:p>
        </p:txBody>
      </p:sp>
      <p:pic>
        <p:nvPicPr>
          <p:cNvPr id="7" name="Picture 2" descr="Diagram: Data Factory, a cloud data integration service - Key Concepts">
            <a:extLst>
              <a:ext uri="{FF2B5EF4-FFF2-40B4-BE49-F238E27FC236}">
                <a16:creationId xmlns:a16="http://schemas.microsoft.com/office/drawing/2014/main" id="{BE009E6E-8554-4328-8586-D0CAA6C19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44" y="1996827"/>
            <a:ext cx="11383536" cy="3600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977691-26A4-4B92-99C3-225F3B814A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083" y="4593502"/>
            <a:ext cx="1675963" cy="3336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17AFA93-B211-49B7-A6E8-C93D678DEF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2165" y="4328602"/>
            <a:ext cx="2919726" cy="111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126918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33962" cy="68780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2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ccess all your data – 80+ connectors &amp; grow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EB1C3F-4F91-4090-B20B-170898529B4A}"/>
              </a:ext>
            </a:extLst>
          </p:cNvPr>
          <p:cNvSpPr/>
          <p:nvPr/>
        </p:nvSpPr>
        <p:spPr>
          <a:xfrm>
            <a:off x="174070" y="6358086"/>
            <a:ext cx="45540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26"/>
            <a:r>
              <a:rPr lang="en-US" sz="140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* Supported file formats: CSV, Parquet, AVRO, ORC, JS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05C014F-0D93-440F-B88E-CA6E3654291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40946" y="842856"/>
          <a:ext cx="11510108" cy="5452312"/>
        </p:xfrm>
        <a:graphic>
          <a:graphicData uri="http://schemas.openxmlformats.org/drawingml/2006/table">
            <a:tbl>
              <a:tblPr firstRow="1" firstCol="1" bandRow="1"/>
              <a:tblGrid>
                <a:gridCol w="1714201">
                  <a:extLst>
                    <a:ext uri="{9D8B030D-6E8A-4147-A177-3AD203B41FA5}">
                      <a16:colId xmlns:a16="http://schemas.microsoft.com/office/drawing/2014/main" val="165871124"/>
                    </a:ext>
                  </a:extLst>
                </a:gridCol>
                <a:gridCol w="1443607">
                  <a:extLst>
                    <a:ext uri="{9D8B030D-6E8A-4147-A177-3AD203B41FA5}">
                      <a16:colId xmlns:a16="http://schemas.microsoft.com/office/drawing/2014/main" val="1811083477"/>
                    </a:ext>
                  </a:extLst>
                </a:gridCol>
                <a:gridCol w="1357569">
                  <a:extLst>
                    <a:ext uri="{9D8B030D-6E8A-4147-A177-3AD203B41FA5}">
                      <a16:colId xmlns:a16="http://schemas.microsoft.com/office/drawing/2014/main" val="2505787839"/>
                    </a:ext>
                  </a:extLst>
                </a:gridCol>
                <a:gridCol w="1529646">
                  <a:extLst>
                    <a:ext uri="{9D8B030D-6E8A-4147-A177-3AD203B41FA5}">
                      <a16:colId xmlns:a16="http://schemas.microsoft.com/office/drawing/2014/main" val="168916183"/>
                    </a:ext>
                  </a:extLst>
                </a:gridCol>
                <a:gridCol w="1270873">
                  <a:extLst>
                    <a:ext uri="{9D8B030D-6E8A-4147-A177-3AD203B41FA5}">
                      <a16:colId xmlns:a16="http://schemas.microsoft.com/office/drawing/2014/main" val="3147627892"/>
                    </a:ext>
                  </a:extLst>
                </a:gridCol>
                <a:gridCol w="1454773">
                  <a:extLst>
                    <a:ext uri="{9D8B030D-6E8A-4147-A177-3AD203B41FA5}">
                      <a16:colId xmlns:a16="http://schemas.microsoft.com/office/drawing/2014/main" val="32484208"/>
                    </a:ext>
                  </a:extLst>
                </a:gridCol>
                <a:gridCol w="1481044">
                  <a:extLst>
                    <a:ext uri="{9D8B030D-6E8A-4147-A177-3AD203B41FA5}">
                      <a16:colId xmlns:a16="http://schemas.microsoft.com/office/drawing/2014/main" val="845883136"/>
                    </a:ext>
                  </a:extLst>
                </a:gridCol>
                <a:gridCol w="1258395">
                  <a:extLst>
                    <a:ext uri="{9D8B030D-6E8A-4147-A177-3AD203B41FA5}">
                      <a16:colId xmlns:a16="http://schemas.microsoft.com/office/drawing/2014/main" val="2208311229"/>
                    </a:ext>
                  </a:extLst>
                </a:gridCol>
              </a:tblGrid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zure (15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&amp; DW (25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torage (6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NoSQL (3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rvices &amp; Apps (28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eneric (4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37144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Blob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Redshift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S3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assandr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mazon MW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Service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T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89956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smos DB – SQL AP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B2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hoenix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ystem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uchbas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DS for App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aypa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Dat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061614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smos DB – MongoDB AP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rill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ostgreSQL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ongoDB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Concur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QuickBooks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DBC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028119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DLS Gen1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BigQuery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Presto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Cloud Storag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365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lesforc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REST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67319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ADLS Gen2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reenplum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BW Open Hub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DFS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AX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 Service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197217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 Explorer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Bas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BW MDX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TP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ynamics CRM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F Marketing Cloud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3696990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MariaDB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ive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HAN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Google AdWord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C4C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2881925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MySQ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Impal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park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HubSpot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AP ECC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11327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Database for PostgreSQL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Informix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Server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Jira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rviceNow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367279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File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riaDB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ybase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gento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hopify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617407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bas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icrosoft Access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Teradat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arketo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uar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71534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base MI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MySQL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Vertica</a:t>
                      </a: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ffice 365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Web Tabl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284688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QL Data Warehous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Netezza</a:t>
                      </a: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Eloqua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Xero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137223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Search Index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Oracle Responsys</a:t>
                      </a: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 err="1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Zoho</a:t>
                      </a:r>
                      <a:endParaRPr lang="en-US" sz="125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</a:endParaRP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525800"/>
                  </a:ext>
                </a:extLst>
              </a:tr>
              <a:tr h="30998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50">
                          <a:effectLst/>
                          <a:latin typeface="Calibri" panose="020F0502020204030204" pitchFamily="34" charset="0"/>
                          <a:ea typeface="DengXian" panose="02010600030101010101" pitchFamily="2" charset="-122"/>
                        </a:rPr>
                        <a:t>Table Storage</a:t>
                      </a: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001" marR="9001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001" marR="9001" marT="43202" marB="4320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5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6405" marR="86405" marT="43202" marB="43202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6976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6951642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7400" y="155517"/>
            <a:ext cx="11071047" cy="115048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00" b="1" spc="-10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Transformation through Analytics Engi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00FADB-CAC6-4C36-B477-85442258E8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5586" y="1725926"/>
            <a:ext cx="1400086" cy="89953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F635D79-C936-4D76-9527-C3B7EA732402}"/>
              </a:ext>
            </a:extLst>
          </p:cNvPr>
          <p:cNvSpPr txBox="1"/>
          <p:nvPr/>
        </p:nvSpPr>
        <p:spPr>
          <a:xfrm>
            <a:off x="3556001" y="2639894"/>
            <a:ext cx="457925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HDInsight (on-demand/BYOC)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Hive, Pig, Spark, MapReduce, Stream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C4DB65-9143-4053-B6DD-6A02747D01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6135" y="1721957"/>
            <a:ext cx="1059825" cy="90747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D23CE4A-A0E7-4711-86F4-8C5430D15B37}"/>
              </a:ext>
            </a:extLst>
          </p:cNvPr>
          <p:cNvSpPr txBox="1"/>
          <p:nvPr/>
        </p:nvSpPr>
        <p:spPr>
          <a:xfrm>
            <a:off x="783101" y="2639894"/>
            <a:ext cx="2805892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brick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Notebook, Jar, Python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A43B6AC-54C5-4C1B-9532-422012AB69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0568" y="4058879"/>
            <a:ext cx="1210959" cy="96222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F1168C9-8EAD-40C4-A7CE-6B5DC2854ADC}"/>
              </a:ext>
            </a:extLst>
          </p:cNvPr>
          <p:cNvSpPr txBox="1"/>
          <p:nvPr/>
        </p:nvSpPr>
        <p:spPr>
          <a:xfrm>
            <a:off x="611447" y="4962243"/>
            <a:ext cx="3149201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 Lake Analytic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Data Lake Analytics U-SQL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C56A675-1BA0-4379-A582-2FEB753271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4772" y="4081450"/>
            <a:ext cx="1021714" cy="91708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F5A5711-CE44-4335-B725-487E95488C52}"/>
              </a:ext>
            </a:extLst>
          </p:cNvPr>
          <p:cNvSpPr txBox="1"/>
          <p:nvPr/>
        </p:nvSpPr>
        <p:spPr>
          <a:xfrm>
            <a:off x="4056733" y="4962243"/>
            <a:ext cx="3577792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Machine Learn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Batch Execution, Update Resourc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94AE0EE-5807-4526-BE54-CAB10424AD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4990" y="4042634"/>
            <a:ext cx="1140789" cy="99471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C778084-802A-4046-892A-C70A4AE47332}"/>
              </a:ext>
            </a:extLst>
          </p:cNvPr>
          <p:cNvSpPr txBox="1"/>
          <p:nvPr/>
        </p:nvSpPr>
        <p:spPr>
          <a:xfrm>
            <a:off x="8302322" y="4962243"/>
            <a:ext cx="2966125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Batch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Custom Executab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8960E92-2E53-4E8B-B028-32A41D4481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42496" y="1678338"/>
            <a:ext cx="1085777" cy="99471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DE0DDFF-4A74-4E85-8D31-EEBB1CFCF938}"/>
              </a:ext>
            </a:extLst>
          </p:cNvPr>
          <p:cNvSpPr txBox="1"/>
          <p:nvPr/>
        </p:nvSpPr>
        <p:spPr>
          <a:xfrm>
            <a:off x="7983386" y="2639894"/>
            <a:ext cx="360399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SQL DB/DW, SQL Server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tored Procedure</a:t>
            </a:r>
          </a:p>
        </p:txBody>
      </p:sp>
    </p:spTree>
    <p:extLst>
      <p:ext uri="{BB962C8B-B14F-4D97-AF65-F5344CB8AC3E}">
        <p14:creationId xmlns:p14="http://schemas.microsoft.com/office/powerpoint/2010/main" val="3076577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8059E029-6125-4656-A2FF-A93D7EA22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024" y="154197"/>
            <a:ext cx="10514108" cy="1150945"/>
          </a:xfrm>
        </p:spPr>
        <p:txBody>
          <a:bodyPr>
            <a:normAutofit/>
          </a:bodyPr>
          <a:lstStyle/>
          <a:p>
            <a:r>
              <a:rPr lang="en-US" sz="3900" b="1">
                <a:solidFill>
                  <a:srgbClr val="0078D7"/>
                </a:solidFill>
                <a:latin typeface="Segoe UI Light (Headings)"/>
              </a:rPr>
              <a:t>Control Flow</a:t>
            </a:r>
          </a:p>
        </p:txBody>
      </p:sp>
      <p:sp>
        <p:nvSpPr>
          <p:cNvPr id="79" name="Rectangle 78"/>
          <p:cNvSpPr/>
          <p:nvPr/>
        </p:nvSpPr>
        <p:spPr>
          <a:xfrm>
            <a:off x="1952121" y="3934334"/>
            <a:ext cx="6970601" cy="257983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1" name="Straight Arrow Connector 80"/>
          <p:cNvCxnSpPr>
            <a:endCxn id="82" idx="1"/>
          </p:cNvCxnSpPr>
          <p:nvPr/>
        </p:nvCxnSpPr>
        <p:spPr>
          <a:xfrm>
            <a:off x="1619482" y="4805947"/>
            <a:ext cx="1550843" cy="0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3170325" y="4436485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56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314130" y="4436485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cxnSp>
        <p:nvCxnSpPr>
          <p:cNvPr id="84" name="Straight Arrow Connector 83"/>
          <p:cNvCxnSpPr/>
          <p:nvPr/>
        </p:nvCxnSpPr>
        <p:spPr>
          <a:xfrm>
            <a:off x="4321043" y="4848508"/>
            <a:ext cx="993088" cy="1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flipV="1">
            <a:off x="6464849" y="4848507"/>
            <a:ext cx="630302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7214133" y="4358124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3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7" name="Straight Arrow Connector 86"/>
          <p:cNvCxnSpPr>
            <a:endCxn id="88" idx="1"/>
          </p:cNvCxnSpPr>
          <p:nvPr/>
        </p:nvCxnSpPr>
        <p:spPr>
          <a:xfrm>
            <a:off x="4321044" y="4848508"/>
            <a:ext cx="958109" cy="1139681"/>
          </a:xfrm>
          <a:prstGeom prst="straightConnector1">
            <a:avLst/>
          </a:prstGeom>
          <a:ln w="254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5279152" y="5618728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“On Error” Activity 1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334408" y="4358125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286067" y="5350598"/>
            <a:ext cx="781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Error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866267" y="3592637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1</a:t>
            </a:r>
          </a:p>
        </p:txBody>
      </p:sp>
      <p:cxnSp>
        <p:nvCxnSpPr>
          <p:cNvPr id="92" name="Straight Arrow Connector 91"/>
          <p:cNvCxnSpPr/>
          <p:nvPr/>
        </p:nvCxnSpPr>
        <p:spPr>
          <a:xfrm flipV="1">
            <a:off x="6429871" y="5988189"/>
            <a:ext cx="657779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7064532" y="5618728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9471283" y="4296798"/>
            <a:ext cx="2309845" cy="222787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5" name="Straight Arrow Connector 94"/>
          <p:cNvCxnSpPr>
            <a:stCxn id="97" idx="3"/>
          </p:cNvCxnSpPr>
          <p:nvPr/>
        </p:nvCxnSpPr>
        <p:spPr>
          <a:xfrm>
            <a:off x="8452525" y="4635144"/>
            <a:ext cx="1045556" cy="77559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9424519" y="4003447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2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095152" y="4003447"/>
            <a:ext cx="1357373" cy="12633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67"/>
            <a:r>
              <a:rPr lang="en-US" sz="1400" b="1">
                <a:solidFill>
                  <a:srgbClr val="FFFFFF">
                    <a:lumMod val="50000"/>
                  </a:srgbClr>
                </a:solidFill>
                <a:latin typeface="Segoe UI Semilight"/>
              </a:rPr>
              <a:t>For Each…</a:t>
            </a:r>
            <a:endParaRPr lang="en-US" sz="1200">
              <a:solidFill>
                <a:srgbClr val="FFFFFF">
                  <a:lumMod val="50000"/>
                </a:srgbClr>
              </a:solidFill>
              <a:latin typeface="Segoe UI Semi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7214133" y="4902817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4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9" name="Straight Arrow Connector 98"/>
          <p:cNvCxnSpPr>
            <a:stCxn id="86" idx="2"/>
            <a:endCxn id="98" idx="0"/>
          </p:cNvCxnSpPr>
          <p:nvPr/>
        </p:nvCxnSpPr>
        <p:spPr>
          <a:xfrm>
            <a:off x="7789492" y="4652979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2013113" y="4325362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49715" y="4158440"/>
            <a:ext cx="1377708" cy="14193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Trigger</a:t>
            </a:r>
          </a:p>
          <a:p>
            <a:pPr algn="ctr" defTabSz="914367"/>
            <a:endParaRPr lang="en-US" sz="1200" b="1">
              <a:solidFill>
                <a:srgbClr val="FFFFFF"/>
              </a:solidFill>
              <a:latin typeface="Segoe UI Semilight"/>
            </a:endParaRPr>
          </a:p>
          <a:p>
            <a:pPr defTabSz="914367"/>
            <a:endParaRPr lang="en-US" sz="1200">
              <a:solidFill>
                <a:srgbClr val="FFFFFF"/>
              </a:solidFill>
              <a:latin typeface="Segoe UI Semilight"/>
            </a:endParaRPr>
          </a:p>
          <a:p>
            <a:pPr defTabSz="914367"/>
            <a:r>
              <a:rPr lang="en-US" sz="1200">
                <a:solidFill>
                  <a:srgbClr val="FFFFFF"/>
                </a:solidFill>
              </a:rPr>
              <a:t>On Demand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Scheduled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Tumbling Window</a:t>
            </a:r>
          </a:p>
          <a:p>
            <a:pPr defTabSz="914367"/>
            <a:r>
              <a:rPr lang="en-US" sz="1200">
                <a:solidFill>
                  <a:srgbClr val="FFFFFF"/>
                </a:solidFill>
                <a:latin typeface="Segoe UI Semilight"/>
              </a:rPr>
              <a:t>Event-based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219048" y="4409020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07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229579" y="5067234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29579" y="5788383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029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10626206" y="4805947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10652998" y="5500732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5785EB7-2855-41D8-8FCC-C4859C983245}"/>
              </a:ext>
            </a:extLst>
          </p:cNvPr>
          <p:cNvSpPr txBox="1">
            <a:spLocks/>
          </p:cNvSpPr>
          <p:nvPr/>
        </p:nvSpPr>
        <p:spPr>
          <a:xfrm>
            <a:off x="349715" y="912189"/>
            <a:ext cx="11655078" cy="249299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080" marR="0" indent="-33608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724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Flexible triggering</a:t>
            </a:r>
            <a:r>
              <a:rPr lang="en-US" sz="2000" dirty="0"/>
              <a:t>: on-demand, scheduled, tumbling window</a:t>
            </a:r>
          </a:p>
          <a:p>
            <a:r>
              <a:rPr lang="en-US" sz="2000" b="1" dirty="0"/>
              <a:t>Looping</a:t>
            </a:r>
            <a:r>
              <a:rPr lang="en-US" sz="2000" dirty="0"/>
              <a:t>: </a:t>
            </a:r>
            <a:r>
              <a:rPr lang="en-US" sz="2000" dirty="0" err="1"/>
              <a:t>ForEach</a:t>
            </a:r>
            <a:r>
              <a:rPr lang="en-US" sz="2000" dirty="0"/>
              <a:t>, </a:t>
            </a:r>
            <a:r>
              <a:rPr lang="en-US" sz="2000" dirty="0" err="1"/>
              <a:t>DoUntil</a:t>
            </a:r>
            <a:r>
              <a:rPr lang="en-US" sz="2000" dirty="0"/>
              <a:t>, </a:t>
            </a:r>
            <a:r>
              <a:rPr lang="en-US" sz="2000" dirty="0" err="1"/>
              <a:t>WaitFor</a:t>
            </a:r>
            <a:endParaRPr lang="en-US" sz="2000" dirty="0"/>
          </a:p>
          <a:p>
            <a:r>
              <a:rPr lang="en-US" sz="2000" b="1" dirty="0"/>
              <a:t>Branching activity</a:t>
            </a:r>
            <a:r>
              <a:rPr lang="en-US" sz="2000" dirty="0"/>
              <a:t>: If Condition</a:t>
            </a:r>
          </a:p>
          <a:p>
            <a:r>
              <a:rPr lang="en-US" sz="2000" b="1" dirty="0"/>
              <a:t>Conditional chaining of activities</a:t>
            </a:r>
            <a:r>
              <a:rPr lang="en-US" sz="2000" dirty="0"/>
              <a:t>: Succeeded, Failed, Skipped, Completed</a:t>
            </a:r>
          </a:p>
          <a:p>
            <a:r>
              <a:rPr lang="en-US" sz="2000" b="1" dirty="0"/>
              <a:t>Parameters and expression</a:t>
            </a:r>
            <a:r>
              <a:rPr lang="en-US" sz="2000" dirty="0"/>
              <a:t>: parameters can be defined for pipeline/activity/dataset</a:t>
            </a:r>
          </a:p>
          <a:p>
            <a:r>
              <a:rPr lang="en-US" sz="2000" b="1" dirty="0"/>
              <a:t>Custom state passing: </a:t>
            </a:r>
            <a:r>
              <a:rPr lang="en-US" sz="2000" dirty="0"/>
              <a:t>output from previous activity can be consumed by subsequent activity</a:t>
            </a:r>
          </a:p>
          <a:p>
            <a:r>
              <a:rPr lang="en-US" sz="2000" b="1" dirty="0"/>
              <a:t>Extensible</a:t>
            </a:r>
            <a:r>
              <a:rPr lang="en-US" sz="2000" dirty="0"/>
              <a:t>: Web activity, Azure Function activity, Execute Pipeline activity</a:t>
            </a:r>
          </a:p>
        </p:txBody>
      </p:sp>
    </p:spTree>
    <p:extLst>
      <p:ext uri="{BB962C8B-B14F-4D97-AF65-F5344CB8AC3E}">
        <p14:creationId xmlns:p14="http://schemas.microsoft.com/office/powerpoint/2010/main" val="590175795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/>
              <a:t>Loading Data using ADF</a:t>
            </a:r>
          </a:p>
        </p:txBody>
      </p:sp>
    </p:spTree>
    <p:extLst>
      <p:ext uri="{BB962C8B-B14F-4D97-AF65-F5344CB8AC3E}">
        <p14:creationId xmlns:p14="http://schemas.microsoft.com/office/powerpoint/2010/main" val="82870064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434877" y="3867274"/>
            <a:ext cx="2249681" cy="1407317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0"/>
            <a:endCxn id="29" idx="2"/>
          </p:cNvCxnSpPr>
          <p:nvPr/>
        </p:nvCxnSpPr>
        <p:spPr>
          <a:xfrm flipV="1">
            <a:off x="10559716" y="5274591"/>
            <a:ext cx="0" cy="355255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sp>
        <p:nvSpPr>
          <p:cNvPr id="54" name="Freeform 5">
            <a:extLst>
              <a:ext uri="{FF2B5EF4-FFF2-40B4-BE49-F238E27FC236}">
                <a16:creationId xmlns:a16="http://schemas.microsoft.com/office/drawing/2014/main" id="{3D738FCF-05CE-474C-A8EF-674DEFF392F1}"/>
              </a:ext>
            </a:extLst>
          </p:cNvPr>
          <p:cNvSpPr>
            <a:spLocks noChangeAspect="1"/>
          </p:cNvSpPr>
          <p:nvPr/>
        </p:nvSpPr>
        <p:spPr bwMode="black">
          <a:xfrm>
            <a:off x="5377870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29" idx="1"/>
            <a:endCxn id="65" idx="0"/>
          </p:cNvCxnSpPr>
          <p:nvPr/>
        </p:nvCxnSpPr>
        <p:spPr>
          <a:xfrm flipH="1">
            <a:off x="6994526" y="4570933"/>
            <a:ext cx="2440351" cy="105891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869684" y="5629846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8" name="Shape 312">
            <a:extLst>
              <a:ext uri="{FF2B5EF4-FFF2-40B4-BE49-F238E27FC236}">
                <a16:creationId xmlns:a16="http://schemas.microsoft.com/office/drawing/2014/main" id="{80A19E4E-1FBD-47C9-96D4-ABE590409776}"/>
              </a:ext>
            </a:extLst>
          </p:cNvPr>
          <p:cNvSpPr/>
          <p:nvPr/>
        </p:nvSpPr>
        <p:spPr>
          <a:xfrm>
            <a:off x="9580919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1" name="Shape 312">
            <a:extLst>
              <a:ext uri="{FF2B5EF4-FFF2-40B4-BE49-F238E27FC236}">
                <a16:creationId xmlns:a16="http://schemas.microsoft.com/office/drawing/2014/main" id="{6BBC1CFF-C1CA-4534-A7BD-C63170434E7C}"/>
              </a:ext>
            </a:extLst>
          </p:cNvPr>
          <p:cNvSpPr/>
          <p:nvPr/>
        </p:nvSpPr>
        <p:spPr>
          <a:xfrm>
            <a:off x="10092240" y="4749028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Shape 312">
            <a:extLst>
              <a:ext uri="{FF2B5EF4-FFF2-40B4-BE49-F238E27FC236}">
                <a16:creationId xmlns:a16="http://schemas.microsoft.com/office/drawing/2014/main" id="{AF864F23-D2FA-4A6F-A2F3-7A0DC355CE02}"/>
              </a:ext>
            </a:extLst>
          </p:cNvPr>
          <p:cNvSpPr/>
          <p:nvPr/>
        </p:nvSpPr>
        <p:spPr>
          <a:xfrm>
            <a:off x="1060356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6" name="Shape 312">
            <a:extLst>
              <a:ext uri="{FF2B5EF4-FFF2-40B4-BE49-F238E27FC236}">
                <a16:creationId xmlns:a16="http://schemas.microsoft.com/office/drawing/2014/main" id="{E16A578A-0FB0-42E6-B09F-814DFBE2A85B}"/>
              </a:ext>
            </a:extLst>
          </p:cNvPr>
          <p:cNvSpPr/>
          <p:nvPr/>
        </p:nvSpPr>
        <p:spPr>
          <a:xfrm>
            <a:off x="1111488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Shape 312">
            <a:extLst>
              <a:ext uri="{FF2B5EF4-FFF2-40B4-BE49-F238E27FC236}">
                <a16:creationId xmlns:a16="http://schemas.microsoft.com/office/drawing/2014/main" id="{4D601B02-F216-4DD9-A1F3-2666015C53A2}"/>
              </a:ext>
            </a:extLst>
          </p:cNvPr>
          <p:cNvSpPr/>
          <p:nvPr/>
        </p:nvSpPr>
        <p:spPr>
          <a:xfrm>
            <a:off x="9583416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9" name="Shape 312">
            <a:extLst>
              <a:ext uri="{FF2B5EF4-FFF2-40B4-BE49-F238E27FC236}">
                <a16:creationId xmlns:a16="http://schemas.microsoft.com/office/drawing/2014/main" id="{58A4551B-6283-4731-8429-82414B1E46DE}"/>
              </a:ext>
            </a:extLst>
          </p:cNvPr>
          <p:cNvSpPr/>
          <p:nvPr/>
        </p:nvSpPr>
        <p:spPr>
          <a:xfrm>
            <a:off x="10094737" y="4251975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Shape 312">
            <a:extLst>
              <a:ext uri="{FF2B5EF4-FFF2-40B4-BE49-F238E27FC236}">
                <a16:creationId xmlns:a16="http://schemas.microsoft.com/office/drawing/2014/main" id="{50607B50-0DFD-43D3-A5C3-89FFA6E2640A}"/>
              </a:ext>
            </a:extLst>
          </p:cNvPr>
          <p:cNvSpPr/>
          <p:nvPr/>
        </p:nvSpPr>
        <p:spPr>
          <a:xfrm>
            <a:off x="1060605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1" name="Shape 312">
            <a:extLst>
              <a:ext uri="{FF2B5EF4-FFF2-40B4-BE49-F238E27FC236}">
                <a16:creationId xmlns:a16="http://schemas.microsoft.com/office/drawing/2014/main" id="{1CBF28AD-3F87-4D54-A33B-2F7938941FAD}"/>
              </a:ext>
            </a:extLst>
          </p:cNvPr>
          <p:cNvSpPr/>
          <p:nvPr/>
        </p:nvSpPr>
        <p:spPr>
          <a:xfrm>
            <a:off x="1111737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00D489-377E-4A97-B41C-965DA92C4996}"/>
              </a:ext>
            </a:extLst>
          </p:cNvPr>
          <p:cNvSpPr/>
          <p:nvPr/>
        </p:nvSpPr>
        <p:spPr>
          <a:xfrm>
            <a:off x="196562" y="1434868"/>
            <a:ext cx="4940727" cy="3138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For each copy run, you</a:t>
            </a:r>
            <a:r>
              <a:rPr lang="zh-CN" altLang="en-US" sz="1799">
                <a:solidFill>
                  <a:srgbClr val="353535"/>
                </a:solidFill>
                <a:latin typeface="Segoe UI Semilight"/>
              </a:rPr>
              <a:t> </a:t>
            </a:r>
            <a:r>
              <a:rPr lang="en-US" altLang="zh-CN" sz="1799">
                <a:solidFill>
                  <a:srgbClr val="353535"/>
                </a:solidFill>
                <a:latin typeface="Segoe UI Semilight"/>
              </a:rPr>
              <a:t>can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 specify how much resource to use for copy by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Data Integration Units (DIUs)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DIU is a combination of CPU, memory, and network resource allocation.</a:t>
            </a:r>
          </a:p>
          <a:p>
            <a:pPr defTabSz="914126">
              <a:defRPr/>
            </a:pPr>
            <a:endParaRPr lang="en-US" sz="1799">
              <a:solidFill>
                <a:srgbClr val="0070C0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Default behavior based on your data pattern – larger file size &amp; file count, larger DIUs. 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Serverless &amp; pay-as-you-go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8436631" y="2583997"/>
            <a:ext cx="2123086" cy="12832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1">
            <a:extLst>
              <a:ext uri="{FF2B5EF4-FFF2-40B4-BE49-F238E27FC236}">
                <a16:creationId xmlns:a16="http://schemas.microsoft.com/office/drawing/2014/main" id="{F9139A97-F0F2-4E22-9D53-9AA8054E5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Cloud-to-cloud Cop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CE997D-B9BB-47B6-9F99-9A8AFDB8C4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570" y="4774641"/>
            <a:ext cx="4777634" cy="82706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19118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5928342" y="4585413"/>
            <a:ext cx="1432739" cy="498445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1242193">
              <a:defRPr/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lf-hosted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1"/>
            <a:endCxn id="91" idx="3"/>
          </p:cNvCxnSpPr>
          <p:nvPr/>
        </p:nvCxnSpPr>
        <p:spPr>
          <a:xfrm flipH="1" flipV="1">
            <a:off x="8464517" y="4545551"/>
            <a:ext cx="970359" cy="1318729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91" idx="1"/>
            <a:endCxn id="65" idx="3"/>
          </p:cNvCxnSpPr>
          <p:nvPr/>
        </p:nvCxnSpPr>
        <p:spPr>
          <a:xfrm flipH="1">
            <a:off x="7470946" y="4545549"/>
            <a:ext cx="494127" cy="131836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907415" y="5629481"/>
            <a:ext cx="156353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On-</a:t>
            </a:r>
            <a:r>
              <a:rPr lang="en-US" sz="1600" b="1" err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prem</a:t>
            </a:r>
            <a:r>
              <a:rPr lang="en-US" sz="1600" b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Data Store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B428AED6-AC8A-4C60-95B5-95562BCBDEC1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50000"/>
          </a:blip>
          <a:stretch>
            <a:fillRect/>
          </a:stretch>
        </p:blipFill>
        <p:spPr>
          <a:xfrm>
            <a:off x="5373390" y="5606840"/>
            <a:ext cx="388049" cy="481019"/>
          </a:xfrm>
          <a:prstGeom prst="rect">
            <a:avLst/>
          </a:prstGeom>
        </p:spPr>
      </p:pic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98B23F5F-9E66-489D-AF71-61BBB7E12B94}"/>
              </a:ext>
            </a:extLst>
          </p:cNvPr>
          <p:cNvSpPr/>
          <p:nvPr/>
        </p:nvSpPr>
        <p:spPr bwMode="auto">
          <a:xfrm>
            <a:off x="5533515" y="4224208"/>
            <a:ext cx="3016606" cy="1983661"/>
          </a:xfrm>
          <a:prstGeom prst="roundRect">
            <a:avLst/>
          </a:prstGeom>
          <a:noFill/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endParaRPr lang="en-US" sz="1372" b="1" kern="0">
              <a:solidFill>
                <a:srgbClr val="404040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90F3E73-5A22-4749-82A0-D4D62CFAF012}"/>
              </a:ext>
            </a:extLst>
          </p:cNvPr>
          <p:cNvGrpSpPr/>
          <p:nvPr/>
        </p:nvGrpSpPr>
        <p:grpSpPr>
          <a:xfrm>
            <a:off x="6611293" y="3988572"/>
            <a:ext cx="1031352" cy="409075"/>
            <a:chOff x="1570037" y="2467828"/>
            <a:chExt cx="1052307" cy="417387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DEA6D53-7402-4911-B73E-7E0CC8A0D4DB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2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Graphic 55" descr="Table">
              <a:extLst>
                <a:ext uri="{FF2B5EF4-FFF2-40B4-BE49-F238E27FC236}">
                  <a16:creationId xmlns:a16="http://schemas.microsoft.com/office/drawing/2014/main" id="{5F06400D-C9C6-466B-AC81-43B56A8C2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60" name="Graphic 59" descr="Bonfire">
            <a:extLst>
              <a:ext uri="{FF2B5EF4-FFF2-40B4-BE49-F238E27FC236}">
                <a16:creationId xmlns:a16="http://schemas.microsoft.com/office/drawing/2014/main" id="{6D7BCDFE-2652-44A3-A7F7-1FA7335898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3725" y="3683300"/>
            <a:ext cx="412911" cy="412911"/>
          </a:xfrm>
          <a:prstGeom prst="rect">
            <a:avLst/>
          </a:prstGeom>
        </p:spPr>
      </p:pic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7A45403-FA1E-439A-AB26-24B0832D0047}"/>
              </a:ext>
            </a:extLst>
          </p:cNvPr>
          <p:cNvCxnSpPr>
            <a:cxnSpLocks/>
            <a:stCxn id="29" idx="0"/>
          </p:cNvCxnSpPr>
          <p:nvPr/>
        </p:nvCxnSpPr>
        <p:spPr>
          <a:xfrm flipV="1">
            <a:off x="6644710" y="2571738"/>
            <a:ext cx="1772538" cy="201367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90">
            <a:extLst>
              <a:ext uri="{FF2B5EF4-FFF2-40B4-BE49-F238E27FC236}">
                <a16:creationId xmlns:a16="http://schemas.microsoft.com/office/drawing/2014/main" id="{BB7FBCF2-5949-4536-913D-8E93522A618B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341013"/>
            <a:ext cx="499444" cy="409075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D1BF0F7B-FDEB-4F54-ACE9-FF7142A360F3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795368"/>
            <a:ext cx="499444" cy="409075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8563E6E3-F713-458B-B0D6-8595A81AC8D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249724"/>
            <a:ext cx="499444" cy="40907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B9AE1FB3-E7AF-449B-AA3E-36A4011E1BB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704080"/>
            <a:ext cx="499444" cy="409075"/>
          </a:xfrm>
          <a:prstGeom prst="rect">
            <a:avLst/>
          </a:prstGeom>
        </p:spPr>
      </p:pic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B1E5E1A2-5391-41CB-9A5F-438AC6958BC9}"/>
              </a:ext>
            </a:extLst>
          </p:cNvPr>
          <p:cNvCxnSpPr>
            <a:cxnSpLocks/>
            <a:stCxn id="91" idx="1"/>
            <a:endCxn id="29" idx="3"/>
          </p:cNvCxnSpPr>
          <p:nvPr/>
        </p:nvCxnSpPr>
        <p:spPr>
          <a:xfrm flipH="1">
            <a:off x="7361080" y="4545550"/>
            <a:ext cx="603993" cy="28908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2CD83AB7-C86C-4C43-ACCE-AC432519365B}"/>
              </a:ext>
            </a:extLst>
          </p:cNvPr>
          <p:cNvCxnSpPr>
            <a:cxnSpLocks/>
            <a:stCxn id="29" idx="3"/>
            <a:endCxn id="92" idx="1"/>
          </p:cNvCxnSpPr>
          <p:nvPr/>
        </p:nvCxnSpPr>
        <p:spPr>
          <a:xfrm>
            <a:off x="7361080" y="4834635"/>
            <a:ext cx="603993" cy="16527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85208332-6AC4-4C7B-9258-66DFE0FAA1C2}"/>
              </a:ext>
            </a:extLst>
          </p:cNvPr>
          <p:cNvCxnSpPr>
            <a:cxnSpLocks/>
            <a:stCxn id="29" idx="3"/>
            <a:endCxn id="93" idx="1"/>
          </p:cNvCxnSpPr>
          <p:nvPr/>
        </p:nvCxnSpPr>
        <p:spPr>
          <a:xfrm>
            <a:off x="7361080" y="4834635"/>
            <a:ext cx="603993" cy="61962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52C0A0DF-8907-480D-A2E7-8544DF970E7D}"/>
              </a:ext>
            </a:extLst>
          </p:cNvPr>
          <p:cNvCxnSpPr>
            <a:cxnSpLocks/>
            <a:stCxn id="94" idx="1"/>
            <a:endCxn id="29" idx="3"/>
          </p:cNvCxnSpPr>
          <p:nvPr/>
        </p:nvCxnSpPr>
        <p:spPr>
          <a:xfrm flipH="1" flipV="1">
            <a:off x="7361080" y="4834636"/>
            <a:ext cx="603993" cy="107398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93516EB-E9ED-4BD7-8C2E-DB6244CDC08B}"/>
              </a:ext>
            </a:extLst>
          </p:cNvPr>
          <p:cNvCxnSpPr>
            <a:cxnSpLocks/>
            <a:stCxn id="92" idx="1"/>
            <a:endCxn id="65" idx="3"/>
          </p:cNvCxnSpPr>
          <p:nvPr/>
        </p:nvCxnSpPr>
        <p:spPr>
          <a:xfrm flipH="1">
            <a:off x="7470946" y="4999905"/>
            <a:ext cx="494127" cy="86400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EF3DA910-0F17-4146-967B-E95F2EFE8139}"/>
              </a:ext>
            </a:extLst>
          </p:cNvPr>
          <p:cNvCxnSpPr>
            <a:cxnSpLocks/>
            <a:stCxn id="93" idx="1"/>
            <a:endCxn id="65" idx="3"/>
          </p:cNvCxnSpPr>
          <p:nvPr/>
        </p:nvCxnSpPr>
        <p:spPr>
          <a:xfrm flipH="1">
            <a:off x="7470946" y="5454261"/>
            <a:ext cx="494127" cy="409652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29514B0B-1AB8-4767-9E10-E6E269B4F2A5}"/>
              </a:ext>
            </a:extLst>
          </p:cNvPr>
          <p:cNvCxnSpPr>
            <a:cxnSpLocks/>
            <a:stCxn id="94" idx="1"/>
            <a:endCxn id="65" idx="3"/>
          </p:cNvCxnSpPr>
          <p:nvPr/>
        </p:nvCxnSpPr>
        <p:spPr>
          <a:xfrm flipH="1" flipV="1">
            <a:off x="7470946" y="5863914"/>
            <a:ext cx="494127" cy="4470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097A37CD-2436-46D1-A0FE-90B452BC8C43}"/>
              </a:ext>
            </a:extLst>
          </p:cNvPr>
          <p:cNvCxnSpPr>
            <a:cxnSpLocks/>
            <a:stCxn id="58" idx="1"/>
            <a:endCxn id="92" idx="3"/>
          </p:cNvCxnSpPr>
          <p:nvPr/>
        </p:nvCxnSpPr>
        <p:spPr>
          <a:xfrm flipH="1" flipV="1">
            <a:off x="8464517" y="4999905"/>
            <a:ext cx="970359" cy="86437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DC59E39B-2852-4BBD-83ED-FC9829AD5345}"/>
              </a:ext>
            </a:extLst>
          </p:cNvPr>
          <p:cNvCxnSpPr>
            <a:cxnSpLocks/>
            <a:stCxn id="58" idx="1"/>
            <a:endCxn id="93" idx="3"/>
          </p:cNvCxnSpPr>
          <p:nvPr/>
        </p:nvCxnSpPr>
        <p:spPr>
          <a:xfrm flipH="1" flipV="1">
            <a:off x="8464517" y="5454261"/>
            <a:ext cx="970359" cy="41001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72EBEC76-B6FA-4FF7-94EF-D8798CB9097F}"/>
              </a:ext>
            </a:extLst>
          </p:cNvPr>
          <p:cNvCxnSpPr>
            <a:cxnSpLocks/>
            <a:stCxn id="58" idx="1"/>
            <a:endCxn id="94" idx="3"/>
          </p:cNvCxnSpPr>
          <p:nvPr/>
        </p:nvCxnSpPr>
        <p:spPr>
          <a:xfrm flipH="1">
            <a:off x="8464517" y="5864280"/>
            <a:ext cx="970359" cy="44337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BDCACB5E-7D1E-42CB-89D1-1094A4B63223}"/>
              </a:ext>
            </a:extLst>
          </p:cNvPr>
          <p:cNvSpPr/>
          <p:nvPr/>
        </p:nvSpPr>
        <p:spPr>
          <a:xfrm>
            <a:off x="158637" y="1367422"/>
            <a:ext cx="4940727" cy="3692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For High Availability and scale-out, you can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register up to 4 nodes to each self-hosted IR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altLang="zh-CN" sz="1799">
                <a:solidFill>
                  <a:srgbClr val="353535"/>
                </a:solidFill>
                <a:latin typeface="Segoe UI Semilight"/>
              </a:rPr>
              <a:t>For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 each IR node, you can control </a:t>
            </a:r>
            <a:r>
              <a:rPr lang="en-US" sz="1799">
                <a:solidFill>
                  <a:srgbClr val="0070C0"/>
                </a:solidFill>
                <a:latin typeface="Segoe UI Semilight"/>
              </a:rPr>
              <a:t># of activity runs to execute at the same time</a:t>
            </a:r>
            <a:r>
              <a:rPr lang="en-US" sz="1799">
                <a:solidFill>
                  <a:srgbClr val="353535"/>
                </a:solidFill>
                <a:latin typeface="Segoe UI Semilight"/>
              </a:rPr>
              <a:t>, default behavior is determined based on IR machine spec (CPU/memory)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Active-active mode: requests are dispatched to nodes using round-robin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>
                <a:solidFill>
                  <a:srgbClr val="353535"/>
                </a:solidFill>
                <a:latin typeface="Segoe UI Semilight"/>
              </a:rPr>
              <a:t>Jobs will be waiting in a queue if compacity is full, until available slot being freed up.</a:t>
            </a: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52BB2947-F494-4FF9-A48C-ED6F18C01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Hybrid Copy</a:t>
            </a:r>
          </a:p>
        </p:txBody>
      </p:sp>
    </p:spTree>
    <p:extLst>
      <p:ext uri="{BB962C8B-B14F-4D97-AF65-F5344CB8AC3E}">
        <p14:creationId xmlns:p14="http://schemas.microsoft.com/office/powerpoint/2010/main" val="331266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0653"/>
            <a:ext cx="11655840" cy="89966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Advanced Performance Optimizatio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4C45063-6CD9-4CA5-B62A-7528214A7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563003"/>
              </p:ext>
            </p:extLst>
          </p:nvPr>
        </p:nvGraphicFramePr>
        <p:xfrm>
          <a:off x="408142" y="652754"/>
          <a:ext cx="11515777" cy="607556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404632">
                  <a:extLst>
                    <a:ext uri="{9D8B030D-6E8A-4147-A177-3AD203B41FA5}">
                      <a16:colId xmlns:a16="http://schemas.microsoft.com/office/drawing/2014/main" val="2814221199"/>
                    </a:ext>
                  </a:extLst>
                </a:gridCol>
                <a:gridCol w="5272553">
                  <a:extLst>
                    <a:ext uri="{9D8B030D-6E8A-4147-A177-3AD203B41FA5}">
                      <a16:colId xmlns:a16="http://schemas.microsoft.com/office/drawing/2014/main" val="287142749"/>
                    </a:ext>
                  </a:extLst>
                </a:gridCol>
                <a:gridCol w="3838592">
                  <a:extLst>
                    <a:ext uri="{9D8B030D-6E8A-4147-A177-3AD203B41FA5}">
                      <a16:colId xmlns:a16="http://schemas.microsoft.com/office/drawing/2014/main" val="3497765145"/>
                    </a:ext>
                  </a:extLst>
                </a:gridCol>
              </a:tblGrid>
              <a:tr h="429730">
                <a:tc>
                  <a:txBody>
                    <a:bodyPr/>
                    <a:lstStyle/>
                    <a:p>
                      <a:r>
                        <a:rPr lang="en-US" sz="1600"/>
                        <a:t>Copy Scena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S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3087476"/>
                  </a:ext>
                </a:extLst>
              </a:tr>
              <a:tr h="1541446">
                <a:tc>
                  <a:txBody>
                    <a:bodyPr/>
                    <a:lstStyle/>
                    <a:p>
                      <a:r>
                        <a:rPr lang="en-US" sz="1600"/>
                        <a:t>Loading from Azure Blob or 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</a:t>
                      </a:r>
                      <a:r>
                        <a:rPr lang="en-US" sz="1600" err="1"/>
                        <a:t>Polybase</a:t>
                      </a:r>
                      <a:r>
                        <a:rPr lang="en-US" sz="1600"/>
                        <a:t> instead of BULKINSERT.</a:t>
                      </a:r>
                    </a:p>
                    <a:p>
                      <a:r>
                        <a:rPr lang="en-US" sz="1600"/>
                        <a:t>Applicable when format is text, ORC, Parquet and meets </a:t>
                      </a:r>
                      <a:r>
                        <a:rPr lang="en-US" sz="1600">
                          <a:hlinkClick r:id="rId3"/>
                        </a:rPr>
                        <a:t>these criteria</a:t>
                      </a:r>
                      <a:r>
                        <a:rPr lang="en-US" sz="160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425330"/>
                  </a:ext>
                </a:extLst>
              </a:tr>
              <a:tr h="197788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/>
                        <a:t>Loading from data sources other than Azure Blob/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staged copy via Azure Blo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364421"/>
                  </a:ext>
                </a:extLst>
              </a:tr>
              <a:tr h="2126506">
                <a:tc>
                  <a:txBody>
                    <a:bodyPr/>
                    <a:lstStyle/>
                    <a:p>
                      <a:r>
                        <a:rPr lang="en-US" sz="1600"/>
                        <a:t>Loading data from Amazon Redshif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Use UNLOAD to copy data from Amazon Redshift to Amazon S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689845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6E794B5-C79C-4367-802D-D77F353048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548" y="3422181"/>
            <a:ext cx="3936713" cy="72108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CE5D2D7-B535-45C0-8AC4-C77A278B462C}"/>
              </a:ext>
            </a:extLst>
          </p:cNvPr>
          <p:cNvSpPr/>
          <p:nvPr/>
        </p:nvSpPr>
        <p:spPr>
          <a:xfrm>
            <a:off x="8349731" y="1123718"/>
            <a:ext cx="324303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type": "Copy",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/>
              <a:t>            "source": { "type": "</a:t>
            </a:r>
            <a:r>
              <a:rPr lang="en-US" sz="900" err="1"/>
              <a:t>BlobSource</a:t>
            </a:r>
            <a:r>
              <a:rPr lang="en-US" sz="900"/>
              <a:t>“ },</a:t>
            </a:r>
          </a:p>
          <a:p>
            <a:r>
              <a:rPr lang="en-US" sz="900"/>
              <a:t>            "sink": {</a:t>
            </a:r>
          </a:p>
          <a:p>
            <a:r>
              <a:rPr lang="en-US" sz="900"/>
              <a:t>                "type": "</a:t>
            </a:r>
            <a:r>
              <a:rPr lang="en-US" sz="900" err="1"/>
              <a:t>SqlDWSink</a:t>
            </a:r>
            <a:r>
              <a:rPr lang="en-US" sz="900"/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allowPolyBase</a:t>
            </a:r>
            <a:r>
              <a:rPr lang="en-US" sz="900" b="1">
                <a:solidFill>
                  <a:srgbClr val="C00000"/>
                </a:solidFill>
              </a:rPr>
              <a:t>": true</a:t>
            </a:r>
          </a:p>
          <a:p>
            <a:r>
              <a:rPr lang="en-US" sz="900"/>
              <a:t>            } } }</a:t>
            </a:r>
          </a:p>
          <a:p>
            <a:r>
              <a:rPr lang="en-US" sz="900"/>
              <a:t>]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F5310F-1B5B-4C6D-B541-492600E4DD8E}"/>
              </a:ext>
            </a:extLst>
          </p:cNvPr>
          <p:cNvSpPr/>
          <p:nvPr/>
        </p:nvSpPr>
        <p:spPr>
          <a:xfrm>
            <a:off x="8349731" y="2654824"/>
            <a:ext cx="30480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"</a:t>
            </a:r>
            <a:r>
              <a:rPr lang="en-US" sz="900" b="1" err="1">
                <a:solidFill>
                  <a:srgbClr val="C00000"/>
                </a:solidFill>
              </a:rPr>
              <a:t>enableStaging</a:t>
            </a:r>
            <a:r>
              <a:rPr lang="en-US" sz="900" b="1">
                <a:solidFill>
                  <a:srgbClr val="C00000"/>
                </a:solidFill>
              </a:rPr>
              <a:t>": true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"</a:t>
            </a:r>
            <a:r>
              <a:rPr lang="en-US" sz="900" b="1" err="1">
                <a:solidFill>
                  <a:srgbClr val="C00000"/>
                </a:solidFill>
              </a:rPr>
              <a:t>stagingSettings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linkedServiceName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</a:t>
            </a:r>
            <a:r>
              <a:rPr lang="en-US" sz="900" b="1" err="1">
                <a:solidFill>
                  <a:srgbClr val="C00000"/>
                </a:solidFill>
              </a:rPr>
              <a:t>referenceName</a:t>
            </a:r>
            <a:r>
              <a:rPr lang="en-US" sz="900" b="1">
                <a:solidFill>
                  <a:srgbClr val="C00000"/>
                </a:solidFill>
              </a:rPr>
              <a:t>": "</a:t>
            </a:r>
            <a:r>
              <a:rPr lang="en-US" sz="900" b="1" err="1">
                <a:solidFill>
                  <a:srgbClr val="C00000"/>
                </a:solidFill>
              </a:rPr>
              <a:t>MyStagingBlob</a:t>
            </a:r>
            <a:r>
              <a:rPr lang="en-US" sz="900" b="1">
                <a:solidFill>
                  <a:srgbClr val="C00000"/>
                </a:solidFill>
              </a:rPr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type": "</a:t>
            </a:r>
            <a:r>
              <a:rPr lang="en-US" sz="900" b="1" err="1">
                <a:solidFill>
                  <a:srgbClr val="C00000"/>
                </a:solidFill>
              </a:rPr>
              <a:t>LinkedServiceReference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}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path": "</a:t>
            </a:r>
            <a:r>
              <a:rPr lang="en-US" sz="900" b="1" err="1">
                <a:solidFill>
                  <a:srgbClr val="C00000"/>
                </a:solidFill>
              </a:rPr>
              <a:t>stagingcontainer</a:t>
            </a:r>
            <a:r>
              <a:rPr lang="en-US" sz="900" b="1">
                <a:solidFill>
                  <a:srgbClr val="C00000"/>
                </a:solidFill>
              </a:rPr>
              <a:t>/path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enableCompression</a:t>
            </a:r>
            <a:r>
              <a:rPr lang="en-US" sz="900" b="1">
                <a:solidFill>
                  <a:srgbClr val="C00000"/>
                </a:solidFill>
              </a:rPr>
              <a:t>": true</a:t>
            </a:r>
          </a:p>
          <a:p>
            <a:r>
              <a:rPr lang="en-US" sz="900"/>
              <a:t>            } } }</a:t>
            </a:r>
          </a:p>
          <a:p>
            <a:r>
              <a:rPr lang="en-US" sz="900"/>
              <a:t>]</a:t>
            </a:r>
          </a:p>
        </p:txBody>
      </p:sp>
      <p:pic>
        <p:nvPicPr>
          <p:cNvPr id="12" name="Picture 11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580A9F64-B1F9-484B-A131-A1BF911F3D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566" y="5528261"/>
            <a:ext cx="5131507" cy="80967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4F5BA3A-D60C-4864-AEF9-E4B5EAABB981}"/>
              </a:ext>
            </a:extLst>
          </p:cNvPr>
          <p:cNvSpPr/>
          <p:nvPr/>
        </p:nvSpPr>
        <p:spPr>
          <a:xfrm>
            <a:off x="8349731" y="4587405"/>
            <a:ext cx="3332922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"activities":[</a:t>
            </a:r>
          </a:p>
          <a:p>
            <a:r>
              <a:rPr lang="en-US" sz="900"/>
              <a:t>    {</a:t>
            </a:r>
          </a:p>
          <a:p>
            <a:r>
              <a:rPr lang="en-US" sz="900"/>
              <a:t>        "</a:t>
            </a:r>
            <a:r>
              <a:rPr lang="en-US" sz="900" err="1"/>
              <a:t>typeProperties</a:t>
            </a:r>
            <a:r>
              <a:rPr lang="en-US" sz="900"/>
              <a:t>": {</a:t>
            </a:r>
          </a:p>
          <a:p>
            <a:r>
              <a:rPr lang="en-US" sz="900"/>
              <a:t>            "source": {</a:t>
            </a:r>
          </a:p>
          <a:p>
            <a:r>
              <a:rPr lang="en-US" sz="900"/>
              <a:t>                "type": "</a:t>
            </a:r>
            <a:r>
              <a:rPr lang="en-US" sz="900" err="1"/>
              <a:t>AmazonRedshiftSource</a:t>
            </a:r>
            <a:r>
              <a:rPr lang="en-US" sz="900"/>
              <a:t>",</a:t>
            </a:r>
          </a:p>
          <a:p>
            <a:r>
              <a:rPr lang="en-US" sz="900"/>
              <a:t>                "query": "select * from </a:t>
            </a:r>
            <a:r>
              <a:rPr lang="en-US" sz="900" err="1"/>
              <a:t>MyTable</a:t>
            </a:r>
            <a:r>
              <a:rPr lang="en-US" sz="900"/>
              <a:t>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"</a:t>
            </a:r>
            <a:r>
              <a:rPr lang="en-US" sz="900" b="1" err="1">
                <a:solidFill>
                  <a:srgbClr val="C00000"/>
                </a:solidFill>
              </a:rPr>
              <a:t>redshiftUnloadSettings</a:t>
            </a:r>
            <a:r>
              <a:rPr lang="en-US" sz="900" b="1">
                <a:solidFill>
                  <a:srgbClr val="C00000"/>
                </a:solidFill>
              </a:rPr>
              <a:t>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s3LinkedServiceName": {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    "</a:t>
            </a:r>
            <a:r>
              <a:rPr lang="en-US" sz="900" b="1" err="1">
                <a:solidFill>
                  <a:srgbClr val="C00000"/>
                </a:solidFill>
              </a:rPr>
              <a:t>referenceName</a:t>
            </a:r>
            <a:r>
              <a:rPr lang="en-US" sz="900" b="1">
                <a:solidFill>
                  <a:srgbClr val="C00000"/>
                </a:solidFill>
              </a:rPr>
              <a:t>": "AmazonS3LinkedService"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    "type": "</a:t>
            </a:r>
            <a:r>
              <a:rPr lang="en-US" sz="900" b="1" err="1">
                <a:solidFill>
                  <a:srgbClr val="C00000"/>
                </a:solidFill>
              </a:rPr>
              <a:t>LinkedServiceReference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},</a:t>
            </a:r>
          </a:p>
          <a:p>
            <a:r>
              <a:rPr lang="en-US" sz="900" b="1">
                <a:solidFill>
                  <a:srgbClr val="C00000"/>
                </a:solidFill>
              </a:rPr>
              <a:t>                    "</a:t>
            </a:r>
            <a:r>
              <a:rPr lang="en-US" sz="900" b="1" err="1">
                <a:solidFill>
                  <a:srgbClr val="C00000"/>
                </a:solidFill>
              </a:rPr>
              <a:t>bucketName</a:t>
            </a:r>
            <a:r>
              <a:rPr lang="en-US" sz="900" b="1">
                <a:solidFill>
                  <a:srgbClr val="C00000"/>
                </a:solidFill>
              </a:rPr>
              <a:t>": "</a:t>
            </a:r>
            <a:r>
              <a:rPr lang="en-US" sz="900" b="1" err="1">
                <a:solidFill>
                  <a:srgbClr val="C00000"/>
                </a:solidFill>
              </a:rPr>
              <a:t>bucketForUnload</a:t>
            </a:r>
            <a:r>
              <a:rPr lang="en-US" sz="900" b="1">
                <a:solidFill>
                  <a:srgbClr val="C00000"/>
                </a:solidFill>
              </a:rPr>
              <a:t>"</a:t>
            </a:r>
          </a:p>
          <a:p>
            <a:r>
              <a:rPr lang="en-US" sz="900"/>
              <a:t>                }</a:t>
            </a:r>
          </a:p>
          <a:p>
            <a:r>
              <a:rPr lang="en-US" sz="900"/>
              <a:t>            },</a:t>
            </a:r>
          </a:p>
          <a:p>
            <a:r>
              <a:rPr lang="en-US" sz="90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551723729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5001" y="1892300"/>
            <a:ext cx="5940999" cy="1375535"/>
          </a:xfrm>
          <a:ln>
            <a:solidFill>
              <a:srgbClr val="0086AC"/>
            </a:solidFill>
          </a:ln>
        </p:spPr>
        <p:txBody>
          <a:bodyPr/>
          <a:lstStyle/>
          <a:p>
            <a:r>
              <a:rPr lang="en-US" sz="4400"/>
              <a:t>Ingesting Data into Azure using Azure Data Factor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301" y="4207495"/>
            <a:ext cx="5826699" cy="2331618"/>
          </a:xfrm>
        </p:spPr>
        <p:txBody>
          <a:bodyPr/>
          <a:lstStyle/>
          <a:p>
            <a:endParaRPr lang="en-US"/>
          </a:p>
          <a:p>
            <a:r>
              <a:rPr lang="en-US"/>
              <a:t>Program Manager</a:t>
            </a:r>
          </a:p>
          <a:p>
            <a:r>
              <a:rPr lang="en-US"/>
              <a:t>Azure Data Factory</a:t>
            </a:r>
          </a:p>
          <a:p>
            <a:endParaRPr lang="en-US"/>
          </a:p>
          <a:p>
            <a:r>
              <a:rPr lang="en-US" sz="2800"/>
              <a:t>shwang@microsoft.com</a:t>
            </a:r>
          </a:p>
        </p:txBody>
      </p:sp>
    </p:spTree>
    <p:extLst>
      <p:ext uri="{BB962C8B-B14F-4D97-AF65-F5344CB8AC3E}">
        <p14:creationId xmlns:p14="http://schemas.microsoft.com/office/powerpoint/2010/main" val="277729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A0392-90B2-43B0-9421-F28609BA8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1" y="2838068"/>
            <a:ext cx="5094515" cy="1181862"/>
          </a:xfrm>
        </p:spPr>
        <p:txBody>
          <a:bodyPr/>
          <a:lstStyle/>
          <a:p>
            <a:r>
              <a:rPr lang="en-US" sz="3600"/>
              <a:t>Demo:</a:t>
            </a:r>
            <a:br>
              <a:rPr lang="en-US" sz="3600"/>
            </a:br>
            <a:r>
              <a:rPr lang="en-US" sz="3600"/>
              <a:t>Scaling ingestion perf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85DD90-381C-427D-A9D8-F9A10AD82F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56198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1">
            <a:extLst>
              <a:ext uri="{FF2B5EF4-FFF2-40B4-BE49-F238E27FC236}">
                <a16:creationId xmlns:a16="http://schemas.microsoft.com/office/drawing/2014/main" id="{CF26B265-9834-4B81-80EB-16C9BBDDA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561" y="155051"/>
            <a:ext cx="10511370" cy="115064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Securit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6E3A5D5-6FAD-4FA3-9A02-406F8EBEA03A}"/>
              </a:ext>
            </a:extLst>
          </p:cNvPr>
          <p:cNvSpPr txBox="1"/>
          <p:nvPr/>
        </p:nvSpPr>
        <p:spPr>
          <a:xfrm>
            <a:off x="883007" y="1705609"/>
            <a:ext cx="4798873" cy="132343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Azure data services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using Managed Service Identify (MSI) or Service Principal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external data stores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using basic auth, key-based auth, or Windows auth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C2A9143-0CF3-415D-88A8-76169FAF0B5C}"/>
              </a:ext>
            </a:extLst>
          </p:cNvPr>
          <p:cNvSpPr txBox="1"/>
          <p:nvPr/>
        </p:nvSpPr>
        <p:spPr>
          <a:xfrm>
            <a:off x="883008" y="1336954"/>
            <a:ext cx="2903359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ION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4AB17DD-BD3E-4CB3-8CC1-6EFBCCA02E2E}"/>
              </a:ext>
            </a:extLst>
          </p:cNvPr>
          <p:cNvCxnSpPr>
            <a:cxnSpLocks/>
          </p:cNvCxnSpPr>
          <p:nvPr/>
        </p:nvCxnSpPr>
        <p:spPr>
          <a:xfrm>
            <a:off x="5867400" y="838200"/>
            <a:ext cx="0" cy="548640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8B0488B-39D7-48F9-9930-40B02BB7E46A}"/>
              </a:ext>
            </a:extLst>
          </p:cNvPr>
          <p:cNvCxnSpPr>
            <a:cxnSpLocks/>
          </p:cNvCxnSpPr>
          <p:nvPr/>
        </p:nvCxnSpPr>
        <p:spPr>
          <a:xfrm>
            <a:off x="838200" y="3800736"/>
            <a:ext cx="10515600" cy="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A36C3A77-1937-4B72-B14C-017956CA6F0E}"/>
              </a:ext>
            </a:extLst>
          </p:cNvPr>
          <p:cNvSpPr txBox="1"/>
          <p:nvPr/>
        </p:nvSpPr>
        <p:spPr>
          <a:xfrm>
            <a:off x="6394492" y="4474590"/>
            <a:ext cx="5348068" cy="1850010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encrypted at rest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by leveraging data store’s encryption mechanisms: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Transparent Data Encryption (TDE) in Azure SQL Data Warehouse and Azure SQL Databas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Storage Service Encryption (SSE) for Azure Storag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Automatic encryption for ADLS, etc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C3C20EF-E458-49F0-B376-616492DC4448}"/>
              </a:ext>
            </a:extLst>
          </p:cNvPr>
          <p:cNvSpPr txBox="1"/>
          <p:nvPr/>
        </p:nvSpPr>
        <p:spPr>
          <a:xfrm>
            <a:off x="505887" y="6064178"/>
            <a:ext cx="365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rgbClr val="404040"/>
                </a:solidFill>
                <a:latin typeface="Segoe UI"/>
              </a:rPr>
              <a:t>Refer to </a:t>
            </a:r>
            <a:r>
              <a:rPr lang="en-US" sz="1400" i="1">
                <a:solidFill>
                  <a:srgbClr val="404040"/>
                </a:solidFill>
                <a:latin typeface="Segoe UI"/>
                <a:hlinkClick r:id="rId3"/>
              </a:rPr>
              <a:t>this TechNet article</a:t>
            </a:r>
            <a:r>
              <a:rPr lang="en-US" sz="1400" i="1">
                <a:solidFill>
                  <a:srgbClr val="404040"/>
                </a:solidFill>
                <a:latin typeface="Segoe UI"/>
              </a:rPr>
              <a:t> for the list of compliances that ADF is certified for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CDC112D-8A3F-455E-9A3F-2F48B5DEB050}"/>
              </a:ext>
            </a:extLst>
          </p:cNvPr>
          <p:cNvSpPr txBox="1"/>
          <p:nvPr/>
        </p:nvSpPr>
        <p:spPr>
          <a:xfrm>
            <a:off x="6394492" y="1336954"/>
            <a:ext cx="3384192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REDENTIAL MANAGEMEN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665403D-F61C-4855-ADBD-1718BF161F66}"/>
              </a:ext>
            </a:extLst>
          </p:cNvPr>
          <p:cNvSpPr txBox="1"/>
          <p:nvPr/>
        </p:nvSpPr>
        <p:spPr>
          <a:xfrm>
            <a:off x="6394493" y="1714611"/>
            <a:ext cx="5035507" cy="181588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commended: store credentials in Azure Key Vault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and reference key vault secret from ADF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ternatively: supply credential inline in Linked Service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and ADF will encrypt it at rest: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Cloud creds are encrypted by ADF-managed certs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>
                <a:solidFill>
                  <a:srgbClr val="505050"/>
                </a:solidFill>
                <a:latin typeface="Segoe UI Semilight"/>
              </a:rPr>
              <a:t>On-prem creds are encrypted by Windows DPAPI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DA61E5E-5237-4C8E-AEDD-AE33314820ED}"/>
              </a:ext>
            </a:extLst>
          </p:cNvPr>
          <p:cNvSpPr txBox="1"/>
          <p:nvPr/>
        </p:nvSpPr>
        <p:spPr>
          <a:xfrm>
            <a:off x="883007" y="4516588"/>
            <a:ext cx="4798873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transferred through secure channel HTTPS/TLS (V1.2) </a:t>
            </a:r>
            <a:r>
              <a:rPr lang="en-US" sz="1600">
                <a:solidFill>
                  <a:srgbClr val="505050"/>
                </a:solidFill>
                <a:latin typeface="Segoe UI Semilight"/>
              </a:rPr>
              <a:t>if data store supports HTTPS or TLS.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543D8F8-D3A3-42EA-8077-D61828447B15}"/>
              </a:ext>
            </a:extLst>
          </p:cNvPr>
          <p:cNvSpPr txBox="1"/>
          <p:nvPr/>
        </p:nvSpPr>
        <p:spPr>
          <a:xfrm>
            <a:off x="883007" y="413670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IN TRANSI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7A9611B-D82C-4F68-A1E9-1BC0D8E51F06}"/>
              </a:ext>
            </a:extLst>
          </p:cNvPr>
          <p:cNvSpPr txBox="1"/>
          <p:nvPr/>
        </p:nvSpPr>
        <p:spPr>
          <a:xfrm>
            <a:off x="6394492" y="413358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AT REST</a:t>
            </a:r>
          </a:p>
        </p:txBody>
      </p:sp>
    </p:spTree>
    <p:extLst>
      <p:ext uri="{BB962C8B-B14F-4D97-AF65-F5344CB8AC3E}">
        <p14:creationId xmlns:p14="http://schemas.microsoft.com/office/powerpoint/2010/main" val="117833070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784656" y="1652170"/>
            <a:ext cx="5608534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9694" y="4240221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0297" y="4384121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1827506" y="5182306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3380693" y="4326770"/>
            <a:ext cx="11109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Self-hosted IR on premise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435122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2098" y="4456145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7890" y="4428765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2322" y="2146242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7968783" y="2747154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7382453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8360167" y="5102438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7529603" y="5373026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33606" y="4501830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6375439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9694" y="2876538"/>
            <a:ext cx="637808" cy="481673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36" idx="3"/>
            <a:endCxn id="1230" idx="1"/>
          </p:cNvCxnSpPr>
          <p:nvPr/>
        </p:nvCxnSpPr>
        <p:spPr>
          <a:xfrm flipV="1">
            <a:off x="3699245" y="2430118"/>
            <a:ext cx="4423077" cy="1540498"/>
          </a:xfrm>
          <a:prstGeom prst="bentConnector3">
            <a:avLst>
              <a:gd name="adj1" fmla="val 80553"/>
            </a:avLst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BF976DF4-282F-4B0A-8F3A-37E99F8C2C2D}"/>
              </a:ext>
            </a:extLst>
          </p:cNvPr>
          <p:cNvGrpSpPr/>
          <p:nvPr/>
        </p:nvGrpSpPr>
        <p:grpSpPr>
          <a:xfrm>
            <a:off x="3057494" y="3693818"/>
            <a:ext cx="804099" cy="665132"/>
            <a:chOff x="4755848" y="3687485"/>
            <a:chExt cx="804308" cy="665305"/>
          </a:xfrm>
        </p:grpSpPr>
        <p:pic>
          <p:nvPicPr>
            <p:cNvPr id="236" name="Picture 235">
              <a:extLst>
                <a:ext uri="{FF2B5EF4-FFF2-40B4-BE49-F238E27FC236}">
                  <a16:creationId xmlns:a16="http://schemas.microsoft.com/office/drawing/2014/main" id="{1B5DDB19-8165-419F-83FD-D62C09A13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755848" y="3687485"/>
              <a:ext cx="641917" cy="553737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30458BDE-9F40-4FB7-823D-0BE1D02D7D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125623" y="3975790"/>
              <a:ext cx="434533" cy="377000"/>
            </a:xfrm>
            <a:prstGeom prst="rect">
              <a:avLst/>
            </a:prstGeom>
          </p:spPr>
        </p:pic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79B815A8-A4B2-45D9-A8B9-F891D3F6C5C1}"/>
              </a:ext>
            </a:extLst>
          </p:cNvPr>
          <p:cNvCxnSpPr>
            <a:cxnSpLocks/>
            <a:stCxn id="236" idx="0"/>
            <a:endCxn id="1236" idx="3"/>
          </p:cNvCxnSpPr>
          <p:nvPr/>
        </p:nvCxnSpPr>
        <p:spPr>
          <a:xfrm rot="16200000" flipV="1">
            <a:off x="2639715" y="2955164"/>
            <a:ext cx="576445" cy="900867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93BDDB47-2404-4890-9099-7F8DA2BE8308}"/>
              </a:ext>
            </a:extLst>
          </p:cNvPr>
          <p:cNvCxnSpPr>
            <a:cxnSpLocks/>
            <a:stCxn id="236" idx="2"/>
          </p:cNvCxnSpPr>
          <p:nvPr/>
        </p:nvCxnSpPr>
        <p:spPr>
          <a:xfrm rot="5400000">
            <a:off x="2796809" y="3984825"/>
            <a:ext cx="318975" cy="84414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10C2879B-CB1B-4459-9A7D-5131FE880DED}"/>
              </a:ext>
            </a:extLst>
          </p:cNvPr>
          <p:cNvCxnSpPr>
            <a:cxnSpLocks/>
            <a:stCxn id="71" idx="3"/>
            <a:endCxn id="1234" idx="0"/>
          </p:cNvCxnSpPr>
          <p:nvPr/>
        </p:nvCxnSpPr>
        <p:spPr>
          <a:xfrm>
            <a:off x="3861593" y="4170499"/>
            <a:ext cx="3095779" cy="33133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E87B1090-CA6D-49CD-A850-32EC018C88FC}"/>
              </a:ext>
            </a:extLst>
          </p:cNvPr>
          <p:cNvCxnSpPr>
            <a:cxnSpLocks/>
            <a:endCxn id="1221" idx="0"/>
          </p:cNvCxnSpPr>
          <p:nvPr/>
        </p:nvCxnSpPr>
        <p:spPr>
          <a:xfrm>
            <a:off x="3875660" y="4179110"/>
            <a:ext cx="4060344" cy="277035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101E42EA-07F6-43E1-ACE4-FED5FABDF670}"/>
              </a:ext>
            </a:extLst>
          </p:cNvPr>
          <p:cNvCxnSpPr>
            <a:cxnSpLocks/>
            <a:stCxn id="71" idx="3"/>
            <a:endCxn id="1229" idx="0"/>
          </p:cNvCxnSpPr>
          <p:nvPr/>
        </p:nvCxnSpPr>
        <p:spPr>
          <a:xfrm>
            <a:off x="3861593" y="4170499"/>
            <a:ext cx="4966904" cy="25826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9453069C-9E3B-4AC5-83C4-1C3525E30F26}"/>
              </a:ext>
            </a:extLst>
          </p:cNvPr>
          <p:cNvCxnSpPr>
            <a:cxnSpLocks/>
            <a:endCxn id="37" idx="0"/>
          </p:cNvCxnSpPr>
          <p:nvPr/>
        </p:nvCxnSpPr>
        <p:spPr>
          <a:xfrm>
            <a:off x="4947598" y="4179160"/>
            <a:ext cx="4942964" cy="27885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le 1">
            <a:extLst>
              <a:ext uri="{FF2B5EF4-FFF2-40B4-BE49-F238E27FC236}">
                <a16:creationId xmlns:a16="http://schemas.microsoft.com/office/drawing/2014/main" id="{0BCBD213-7F52-4D2C-B32F-B85CBB4F7A3F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8300" b="1">
                <a:solidFill>
                  <a:srgbClr val="0078D7"/>
                </a:solidFill>
                <a:latin typeface="Segoe UI Light (Headings)"/>
              </a:rPr>
              <a:t>Hybrid Integration Between On-prem and Public Azure</a:t>
            </a:r>
          </a:p>
          <a:p>
            <a:pPr defTabSz="914093"/>
            <a:endParaRPr lang="en-US" sz="5098">
              <a:gradFill>
                <a:gsLst>
                  <a:gs pos="1250">
                    <a:srgbClr val="404040"/>
                  </a:gs>
                  <a:gs pos="100000">
                    <a:srgbClr val="404040"/>
                  </a:gs>
                </a:gsLst>
                <a:lin ang="5400000" scaled="0"/>
              </a:gradFill>
              <a:latin typeface="Segoe UI Light"/>
            </a:endParaRPr>
          </a:p>
          <a:p>
            <a:pPr defTabSz="914093"/>
            <a:r>
              <a:rPr lang="en-US" sz="700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premise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D5A4021-1C0D-402E-8688-4369CD7EBED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84661" y="4458012"/>
            <a:ext cx="1011801" cy="65006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D6E6FE0-D601-4D7C-87D4-6CBB4B6D02A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40017" y="4434560"/>
            <a:ext cx="710383" cy="60826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EC7AFE73-36AA-4C33-BA5A-ECBBC451F9C2}"/>
              </a:ext>
            </a:extLst>
          </p:cNvPr>
          <p:cNvSpPr txBox="1"/>
          <p:nvPr/>
        </p:nvSpPr>
        <p:spPr>
          <a:xfrm>
            <a:off x="10270838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6105F216-77D6-426C-92F6-50668C5F5D37}"/>
              </a:ext>
            </a:extLst>
          </p:cNvPr>
          <p:cNvCxnSpPr>
            <a:cxnSpLocks/>
            <a:stCxn id="71" idx="3"/>
            <a:endCxn id="38" idx="0"/>
          </p:cNvCxnSpPr>
          <p:nvPr/>
        </p:nvCxnSpPr>
        <p:spPr>
          <a:xfrm>
            <a:off x="3861593" y="4170499"/>
            <a:ext cx="6833616" cy="26406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68034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679564" y="1652170"/>
            <a:ext cx="5713627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0033" y="4026384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0636" y="4170285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9E4EED-A5AC-46CB-B841-853A09311992}"/>
              </a:ext>
            </a:extLst>
          </p:cNvPr>
          <p:cNvSpPr/>
          <p:nvPr/>
        </p:nvSpPr>
        <p:spPr>
          <a:xfrm>
            <a:off x="6212119" y="3742016"/>
            <a:ext cx="4779259" cy="2076564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D81EBDA-155F-457B-AD21-17E89FE64D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1904" y="5521280"/>
            <a:ext cx="898963" cy="65449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09F0334-D3BB-49AA-843D-EDBF47B4836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33833" y="4003485"/>
            <a:ext cx="669005" cy="54795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D4564CC-F199-4210-89B9-E3BBE27CFBF0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79054" y="4316510"/>
            <a:ext cx="434420" cy="37690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EA81003-0CC9-4C15-9AF7-148BEC5E1B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3690" y="4885364"/>
            <a:ext cx="669005" cy="54795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58C5673-5C8F-4E8F-96AE-80B34B51F3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37194" y="5224515"/>
            <a:ext cx="269339" cy="33921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2107845" y="4968470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1C0E2AA-8868-49B0-AC07-8A1F034B4342}"/>
              </a:ext>
            </a:extLst>
          </p:cNvPr>
          <p:cNvSpPr txBox="1"/>
          <p:nvPr/>
        </p:nvSpPr>
        <p:spPr>
          <a:xfrm>
            <a:off x="6710909" y="5504580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store on V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7895070" y="4645965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DF IR on VM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083081" y="5485022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sp>
        <p:nvSpPr>
          <p:cNvPr id="235" name="Rectangle 234">
            <a:extLst>
              <a:ext uri="{FF2B5EF4-FFF2-40B4-BE49-F238E27FC236}">
                <a16:creationId xmlns:a16="http://schemas.microsoft.com/office/drawing/2014/main" id="{BA41ADEA-48F1-41F1-8190-8EB449D50638}"/>
              </a:ext>
            </a:extLst>
          </p:cNvPr>
          <p:cNvSpPr/>
          <p:nvPr/>
        </p:nvSpPr>
        <p:spPr>
          <a:xfrm>
            <a:off x="8002674" y="1909560"/>
            <a:ext cx="2988702" cy="1092762"/>
          </a:xfrm>
          <a:prstGeom prst="rect">
            <a:avLst/>
          </a:prstGeom>
          <a:noFill/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58786" y="2085367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04578" y="2057987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85010" y="2139733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6439444" y="2758309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8959141" y="274078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9936856" y="273166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1231" name="Rectangle 1230">
            <a:extLst>
              <a:ext uri="{FF2B5EF4-FFF2-40B4-BE49-F238E27FC236}">
                <a16:creationId xmlns:a16="http://schemas.microsoft.com/office/drawing/2014/main" id="{4E676260-7802-4AC0-A4DD-7D129C7D8EFC}"/>
              </a:ext>
            </a:extLst>
          </p:cNvPr>
          <p:cNvSpPr/>
          <p:nvPr/>
        </p:nvSpPr>
        <p:spPr>
          <a:xfrm>
            <a:off x="7997222" y="3015866"/>
            <a:ext cx="2994154" cy="306793"/>
          </a:xfrm>
          <a:prstGeom prst="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9106291" y="3002248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10294" y="2131053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8008023" y="272723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sp>
        <p:nvSpPr>
          <p:cNvPr id="1235" name="Arrow: Down 1234">
            <a:extLst>
              <a:ext uri="{FF2B5EF4-FFF2-40B4-BE49-F238E27FC236}">
                <a16:creationId xmlns:a16="http://schemas.microsoft.com/office/drawing/2014/main" id="{7655BFC8-3B9D-4230-A31F-2E77044AC8EA}"/>
              </a:ext>
            </a:extLst>
          </p:cNvPr>
          <p:cNvSpPr/>
          <p:nvPr/>
        </p:nvSpPr>
        <p:spPr>
          <a:xfrm>
            <a:off x="8916086" y="3275391"/>
            <a:ext cx="1111453" cy="780249"/>
          </a:xfrm>
          <a:prstGeom prst="downArrow">
            <a:avLst>
              <a:gd name="adj1" fmla="val 54069"/>
              <a:gd name="adj2" fmla="val 44354"/>
            </a:avLst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76754" y="3093095"/>
            <a:ext cx="637808" cy="481673"/>
          </a:xfrm>
          <a:prstGeom prst="rect">
            <a:avLst/>
          </a:prstGeom>
        </p:spPr>
      </p:pic>
      <p:cxnSp>
        <p:nvCxnSpPr>
          <p:cNvPr id="1240" name="Connector: Elbow 1239">
            <a:extLst>
              <a:ext uri="{FF2B5EF4-FFF2-40B4-BE49-F238E27FC236}">
                <a16:creationId xmlns:a16="http://schemas.microsoft.com/office/drawing/2014/main" id="{5233E171-9FF9-43AD-9C85-39FACB74F364}"/>
              </a:ext>
            </a:extLst>
          </p:cNvPr>
          <p:cNvCxnSpPr>
            <a:cxnSpLocks/>
            <a:stCxn id="28" idx="3"/>
            <a:endCxn id="1235" idx="2"/>
          </p:cNvCxnSpPr>
          <p:nvPr/>
        </p:nvCxnSpPr>
        <p:spPr>
          <a:xfrm flipV="1">
            <a:off x="8702836" y="4055639"/>
            <a:ext cx="768976" cy="22182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44" name="Picture 1243">
            <a:extLst>
              <a:ext uri="{FF2B5EF4-FFF2-40B4-BE49-F238E27FC236}">
                <a16:creationId xmlns:a16="http://schemas.microsoft.com/office/drawing/2014/main" id="{0C5F139B-5BFC-44E8-B8FD-068E03E9DC3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978819" y="4619907"/>
            <a:ext cx="405457" cy="405894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49" idx="2"/>
            <a:endCxn id="28" idx="1"/>
          </p:cNvCxnSpPr>
          <p:nvPr/>
        </p:nvCxnSpPr>
        <p:spPr>
          <a:xfrm rot="16200000" flipH="1">
            <a:off x="6926977" y="3170609"/>
            <a:ext cx="1088380" cy="1125329"/>
          </a:xfrm>
          <a:prstGeom prst="bentConnector2">
            <a:avLst/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4B4BB159-5761-47BD-B813-61FF7FB5FBDB}"/>
              </a:ext>
            </a:extLst>
          </p:cNvPr>
          <p:cNvCxnSpPr>
            <a:cxnSpLocks/>
            <a:endCxn id="31" idx="0"/>
          </p:cNvCxnSpPr>
          <p:nvPr/>
        </p:nvCxnSpPr>
        <p:spPr>
          <a:xfrm rot="10800000" flipV="1">
            <a:off x="7278192" y="4412270"/>
            <a:ext cx="719030" cy="47309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41D10C5E-EC3C-424B-A6A3-4D4BD48303DA}"/>
              </a:ext>
            </a:extLst>
          </p:cNvPr>
          <p:cNvCxnSpPr>
            <a:cxnSpLocks/>
            <a:stCxn id="29" idx="3"/>
            <a:endCxn id="49" idx="0"/>
          </p:cNvCxnSpPr>
          <p:nvPr/>
        </p:nvCxnSpPr>
        <p:spPr>
          <a:xfrm>
            <a:off x="8913474" y="4504961"/>
            <a:ext cx="535992" cy="35321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>
            <a:extLst>
              <a:ext uri="{FF2B5EF4-FFF2-40B4-BE49-F238E27FC236}">
                <a16:creationId xmlns:a16="http://schemas.microsoft.com/office/drawing/2014/main" id="{8BEB9CB1-2A52-4403-8494-2C1E01F1636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744357" y="4619907"/>
            <a:ext cx="405457" cy="405894"/>
          </a:xfrm>
          <a:prstGeom prst="rect">
            <a:avLst/>
          </a:prstGeom>
        </p:spPr>
      </p:pic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FA65D759-D749-4330-AC9E-A1C61564C84B}"/>
              </a:ext>
            </a:extLst>
          </p:cNvPr>
          <p:cNvCxnSpPr>
            <a:stCxn id="59" idx="3"/>
            <a:endCxn id="1244" idx="1"/>
          </p:cNvCxnSpPr>
          <p:nvPr/>
        </p:nvCxnSpPr>
        <p:spPr>
          <a:xfrm>
            <a:off x="4149814" y="4822854"/>
            <a:ext cx="1829005" cy="0"/>
          </a:xfrm>
          <a:prstGeom prst="straightConnector1">
            <a:avLst/>
          </a:prstGeom>
          <a:ln w="158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6D153DB-99C5-4789-BE0D-DF112E7DEF87}"/>
              </a:ext>
            </a:extLst>
          </p:cNvPr>
          <p:cNvSpPr txBox="1"/>
          <p:nvPr/>
        </p:nvSpPr>
        <p:spPr>
          <a:xfrm>
            <a:off x="4506456" y="4827618"/>
            <a:ext cx="12873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Express Route</a:t>
            </a:r>
          </a:p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(private peering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643394F-0D18-44C6-AA5C-3989AB862FF6}"/>
              </a:ext>
            </a:extLst>
          </p:cNvPr>
          <p:cNvSpPr txBox="1"/>
          <p:nvPr/>
        </p:nvSpPr>
        <p:spPr>
          <a:xfrm>
            <a:off x="9087323" y="3295264"/>
            <a:ext cx="768976" cy="769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1100">
                <a:solidFill>
                  <a:srgbClr val="FFFFFF"/>
                </a:solidFill>
                <a:latin typeface="Segoe UI"/>
              </a:rPr>
              <a:t>VNet service endpoints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B741FB1B-6E81-4256-94A6-C8FA5E0DCAE0}"/>
              </a:ext>
            </a:extLst>
          </p:cNvPr>
          <p:cNvSpPr txBox="1">
            <a:spLocks/>
          </p:cNvSpPr>
          <p:nvPr/>
        </p:nvSpPr>
        <p:spPr>
          <a:xfrm>
            <a:off x="196561" y="155050"/>
            <a:ext cx="11521327" cy="1307418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5600" b="1">
                <a:solidFill>
                  <a:srgbClr val="0078D7"/>
                </a:solidFill>
                <a:latin typeface="Segoe UI Light (Headings)"/>
              </a:rPr>
              <a:t>Hybrid Integration Between On-prem and VNet</a:t>
            </a:r>
          </a:p>
          <a:p>
            <a:endParaRPr lang="en-US" sz="4000" b="1">
              <a:solidFill>
                <a:srgbClr val="0078D7"/>
              </a:solidFill>
              <a:latin typeface="Segoe UI Light"/>
            </a:endParaRPr>
          </a:p>
          <a:p>
            <a:r>
              <a:rPr lang="en-US" sz="400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VM inside VNet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F9A0605-EEDF-4AB4-A486-794E50CA724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972723" y="4846505"/>
            <a:ext cx="710383" cy="60826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48FA5D63-2B19-407E-A923-828BCD51326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943565" y="4858173"/>
            <a:ext cx="1011801" cy="650069"/>
          </a:xfrm>
          <a:prstGeom prst="rect">
            <a:avLst/>
          </a:prstGeom>
        </p:spPr>
      </p:pic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0E8A8E38-D337-429D-B384-89D33E1A769B}"/>
              </a:ext>
            </a:extLst>
          </p:cNvPr>
          <p:cNvCxnSpPr>
            <a:cxnSpLocks/>
            <a:stCxn id="29" idx="3"/>
            <a:endCxn id="45" idx="0"/>
          </p:cNvCxnSpPr>
          <p:nvPr/>
        </p:nvCxnSpPr>
        <p:spPr>
          <a:xfrm>
            <a:off x="8913474" y="4504961"/>
            <a:ext cx="1414441" cy="34154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2CCC090-6471-4AED-9EC6-45535F711CB6}"/>
              </a:ext>
            </a:extLst>
          </p:cNvPr>
          <p:cNvSpPr txBox="1"/>
          <p:nvPr/>
        </p:nvSpPr>
        <p:spPr>
          <a:xfrm>
            <a:off x="9946090" y="5477259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</p:spTree>
    <p:extLst>
      <p:ext uri="{BB962C8B-B14F-4D97-AF65-F5344CB8AC3E}">
        <p14:creationId xmlns:p14="http://schemas.microsoft.com/office/powerpoint/2010/main" val="428614592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Ingestion Pattern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9AE982C-1ED2-4F3F-B8A0-ADC970D0D2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0716" y="910748"/>
            <a:ext cx="11652043" cy="6001643"/>
          </a:xfrm>
        </p:spPr>
        <p:txBody>
          <a:bodyPr/>
          <a:lstStyle/>
          <a:p>
            <a:pPr marL="556750" indent="-457200"/>
            <a:r>
              <a:rPr lang="en-US" sz="2400" b="1"/>
              <a:t>Incremental loading</a:t>
            </a:r>
          </a:p>
          <a:p>
            <a:pPr marL="1004586" lvl="2" indent="-457063">
              <a:buFont typeface="+mj-lt"/>
              <a:buAutoNum type="arabicParenR"/>
            </a:pPr>
            <a:r>
              <a:rPr lang="en-US" sz="1800"/>
              <a:t>Use trigger system variables:</a:t>
            </a:r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endParaRPr lang="en-US" sz="1800"/>
          </a:p>
          <a:p>
            <a:pPr marL="1004586" lvl="2" indent="-457063">
              <a:buFont typeface="+mj-lt"/>
              <a:buAutoNum type="arabicParenR"/>
            </a:pPr>
            <a:r>
              <a:rPr lang="en-US" sz="1800"/>
              <a:t>Use watermark column:</a:t>
            </a:r>
          </a:p>
          <a:p>
            <a:pPr lvl="2"/>
            <a:endParaRPr lang="en-US" sz="1800"/>
          </a:p>
          <a:p>
            <a:pPr lvl="2"/>
            <a:endParaRPr lang="en-US" sz="1800"/>
          </a:p>
          <a:p>
            <a:pPr marL="547523" lvl="2" indent="0">
              <a:buNone/>
            </a:pPr>
            <a:endParaRPr lang="en-US" sz="1800"/>
          </a:p>
          <a:p>
            <a:pPr marL="1004586" lvl="2" indent="-457063">
              <a:buFont typeface="+mj-lt"/>
              <a:buAutoNum type="arabicParenR" startAt="3"/>
            </a:pPr>
            <a:endParaRPr lang="en-US" sz="1800" b="1"/>
          </a:p>
          <a:p>
            <a:pPr marL="1004586" lvl="2" indent="-457063">
              <a:buFont typeface="+mj-lt"/>
              <a:buAutoNum type="arabicParenR" startAt="3"/>
            </a:pPr>
            <a:r>
              <a:rPr lang="en-US" sz="1800"/>
              <a:t>Using Change Tracking (Azure SQL DB, SQL Server</a:t>
            </a:r>
            <a:r>
              <a:rPr lang="en-US" sz="1408"/>
              <a:t>)</a:t>
            </a:r>
          </a:p>
          <a:p>
            <a:endParaRPr lang="en-US" sz="2400" b="1"/>
          </a:p>
          <a:p>
            <a:r>
              <a:rPr lang="en-US" sz="2400" b="1"/>
              <a:t>Delete/archive after loa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Azure Blob Storage and ADLS: use Web activity to call REST AP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other data sources: use custom activity</a:t>
            </a:r>
          </a:p>
          <a:p>
            <a:r>
              <a:rPr lang="en-US" sz="2400" b="1"/>
              <a:t>Insert/update/delete on destin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SQL Server/Azure SQL: use </a:t>
            </a:r>
            <a:r>
              <a:rPr lang="en-US" sz="1800" err="1"/>
              <a:t>sproc</a:t>
            </a:r>
            <a:r>
              <a:rPr lang="en-US" sz="1800"/>
              <a:t> for </a:t>
            </a:r>
            <a:r>
              <a:rPr lang="en-US" sz="1800" err="1"/>
              <a:t>upsert</a:t>
            </a:r>
            <a:endParaRPr lang="en-US" sz="180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/>
              <a:t>For other connectors: use custom activ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6BD3FD-93DB-4E03-9253-0A00491CCD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161" y="2385751"/>
            <a:ext cx="5801118" cy="15991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89A9178-F233-4162-A58E-95D61A841663}"/>
              </a:ext>
            </a:extLst>
          </p:cNvPr>
          <p:cNvSpPr/>
          <p:nvPr/>
        </p:nvSpPr>
        <p:spPr>
          <a:xfrm>
            <a:off x="4302161" y="1287337"/>
            <a:ext cx="6709968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indent="-600091"/>
            <a:r>
              <a:rPr lang="en-US" sz="1200"/>
              <a:t>SELECT </a:t>
            </a:r>
            <a:r>
              <a:rPr lang="en-US" sz="1200" err="1"/>
              <a:t>Id,IsDeleted,CreatedData</a:t>
            </a:r>
            <a:r>
              <a:rPr lang="en-US" sz="1200"/>
              <a:t> FROM Customers </a:t>
            </a:r>
          </a:p>
          <a:p>
            <a:pPr indent="-600091"/>
            <a:r>
              <a:rPr lang="en-US" sz="1200"/>
              <a:t>WHERE </a:t>
            </a:r>
            <a:r>
              <a:rPr lang="en-US" sz="1200" err="1"/>
              <a:t>CreatedDate</a:t>
            </a:r>
            <a:r>
              <a:rPr lang="en-US" sz="1200"/>
              <a:t> &gt;= </a:t>
            </a:r>
            <a:r>
              <a:rPr lang="fi-FI" sz="1200">
                <a:solidFill>
                  <a:srgbClr val="C00000"/>
                </a:solidFill>
              </a:rPr>
              <a:t>@{formatDateTime(pipeline().parameters.windowStartTime, 'yyyy/MM/dd’) </a:t>
            </a:r>
          </a:p>
          <a:p>
            <a:pPr indent="-600091"/>
            <a:r>
              <a:rPr lang="en-US" sz="1200"/>
              <a:t>AND </a:t>
            </a:r>
            <a:r>
              <a:rPr lang="en-US" sz="1200" err="1"/>
              <a:t>CreatedDate</a:t>
            </a:r>
            <a:r>
              <a:rPr lang="en-US" sz="1200"/>
              <a:t> &lt; </a:t>
            </a:r>
            <a:r>
              <a:rPr lang="fi-FI" sz="1200">
                <a:solidFill>
                  <a:srgbClr val="C00000"/>
                </a:solidFill>
              </a:rPr>
              <a:t>@{formatDateTime(pipeline().parameters.windowEndTime, 'yyyy/MM/dd’) </a:t>
            </a:r>
            <a:endParaRPr lang="en-US" sz="120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78964"/>
      </p:ext>
    </p:extLst>
  </p:cSld>
  <p:clrMapOvr>
    <a:masterClrMapping/>
  </p:clrMapOvr>
  <p:transition spd="med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A0392-90B2-43B0-9421-F28609BA8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1" y="2838068"/>
            <a:ext cx="5094515" cy="1181862"/>
          </a:xfrm>
        </p:spPr>
        <p:txBody>
          <a:bodyPr/>
          <a:lstStyle/>
          <a:p>
            <a:r>
              <a:rPr lang="en-US" sz="3600"/>
              <a:t>Demo:</a:t>
            </a:r>
            <a:br>
              <a:rPr lang="en-US" sz="3600"/>
            </a:br>
            <a:r>
              <a:rPr lang="en-US" sz="3600"/>
              <a:t>Incremental inges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85DD90-381C-427D-A9D8-F9A10AD82F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258360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791F8B3-23E6-4F65-AAF4-03EB7DB539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61" b="4203"/>
          <a:stretch/>
        </p:blipFill>
        <p:spPr>
          <a:xfrm>
            <a:off x="5818739" y="759360"/>
            <a:ext cx="6031442" cy="29765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6849C7C-9EB9-462B-838E-D6F8B5BC0A2C}"/>
              </a:ext>
            </a:extLst>
          </p:cNvPr>
          <p:cNvSpPr txBox="1"/>
          <p:nvPr/>
        </p:nvSpPr>
        <p:spPr>
          <a:xfrm>
            <a:off x="5818740" y="175887"/>
            <a:ext cx="6248215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rag-n-drop visual autho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ive debug mode with breakpoin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9BFA41-CDBF-40CF-97CB-FB0903940FE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367" t="17770" r="34371" b="48888"/>
          <a:stretch/>
        </p:blipFill>
        <p:spPr>
          <a:xfrm>
            <a:off x="609600" y="4432952"/>
            <a:ext cx="5638800" cy="22860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FDD5E10-3B64-47B2-9B29-CDD90C211086}"/>
              </a:ext>
            </a:extLst>
          </p:cNvPr>
          <p:cNvSpPr/>
          <p:nvPr/>
        </p:nvSpPr>
        <p:spPr bwMode="auto">
          <a:xfrm>
            <a:off x="4305485" y="4508679"/>
            <a:ext cx="1447800" cy="838200"/>
          </a:xfrm>
          <a:prstGeom prst="roundRect">
            <a:avLst>
              <a:gd name="adj" fmla="val 10875"/>
            </a:avLst>
          </a:prstGeom>
          <a:noFill/>
          <a:ln w="12700">
            <a:solidFill>
              <a:srgbClr val="A8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E09AB-DD6E-4788-8C54-6F621AC6624C}"/>
              </a:ext>
            </a:extLst>
          </p:cNvPr>
          <p:cNvSpPr txBox="1"/>
          <p:nvPr/>
        </p:nvSpPr>
        <p:spPr>
          <a:xfrm>
            <a:off x="559982" y="3991994"/>
            <a:ext cx="5638800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ort ARM template from DEV env &amp; deploy to QA/PRO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8E6BC2-019B-4BD3-839A-B31F0BAE71D6}"/>
              </a:ext>
            </a:extLst>
          </p:cNvPr>
          <p:cNvSpPr txBox="1"/>
          <p:nvPr/>
        </p:nvSpPr>
        <p:spPr>
          <a:xfrm>
            <a:off x="7162800" y="3991994"/>
            <a:ext cx="5180498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gration w/ Azure DevOps Git and GitHub</a:t>
            </a:r>
          </a:p>
        </p:txBody>
      </p:sp>
      <p:pic>
        <p:nvPicPr>
          <p:cNvPr id="13" name="Picture 2" descr="Machine generated alternative text:&#10;Repository Settings &#10;Enter Git repository information to be associated with your &#10;Data Factory: shwangDemoParam &#10;Repository Type * &#10;Select... &#10;Azure DevOps Git &#10;o &#10;G i tHub &#10;x &#10;O ">
            <a:extLst>
              <a:ext uri="{FF2B5EF4-FFF2-40B4-BE49-F238E27FC236}">
                <a16:creationId xmlns:a16="http://schemas.microsoft.com/office/drawing/2014/main" id="{3CADB832-C260-4A46-925A-2D4609885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4377438"/>
            <a:ext cx="4651540" cy="23639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4FB164-35E9-4ECB-B60A-53E118E2B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</p:spPr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Authoring and CICD</a:t>
            </a:r>
          </a:p>
        </p:txBody>
      </p:sp>
    </p:spTree>
    <p:extLst>
      <p:ext uri="{BB962C8B-B14F-4D97-AF65-F5344CB8AC3E}">
        <p14:creationId xmlns:p14="http://schemas.microsoft.com/office/powerpoint/2010/main" val="10513891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B741FB1B-6E81-4256-94A6-C8FA5E0DCAE0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defTabSz="913951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Monitoring &amp; Mgm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C86EF5-E8B8-4F92-83AC-61E0D88AE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754" b="4348"/>
          <a:stretch/>
        </p:blipFill>
        <p:spPr>
          <a:xfrm>
            <a:off x="240154" y="1502887"/>
            <a:ext cx="6035040" cy="28141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28CFD2-30C4-4B1B-A40A-C29600752398}"/>
              </a:ext>
            </a:extLst>
          </p:cNvPr>
          <p:cNvSpPr txBox="1"/>
          <p:nvPr/>
        </p:nvSpPr>
        <p:spPr>
          <a:xfrm>
            <a:off x="163954" y="1066800"/>
            <a:ext cx="5638800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ingle-factory monitoring through ADF dashboar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0A8922-2465-49BE-ABF0-B9A5EF1363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3438442"/>
            <a:ext cx="6200788" cy="31480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C4DFEF4-287B-4410-95F0-AE84D8EBBEC2}"/>
              </a:ext>
            </a:extLst>
          </p:cNvPr>
          <p:cNvSpPr txBox="1"/>
          <p:nvPr/>
        </p:nvSpPr>
        <p:spPr>
          <a:xfrm>
            <a:off x="6593342" y="2743201"/>
            <a:ext cx="5246247" cy="58477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ulti-factory, multi-service monitoring through Azure Monitor and OMS (Operations Management Suite)</a:t>
            </a:r>
          </a:p>
        </p:txBody>
      </p:sp>
    </p:spTree>
    <p:extLst>
      <p:ext uri="{BB962C8B-B14F-4D97-AF65-F5344CB8AC3E}">
        <p14:creationId xmlns:p14="http://schemas.microsoft.com/office/powerpoint/2010/main" val="866132113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Data Ingestion using ADF</a:t>
            </a:r>
          </a:p>
        </p:txBody>
      </p:sp>
      <p:pic>
        <p:nvPicPr>
          <p:cNvPr id="7" name="Picture 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7299403-CF40-483C-9419-28867C7EAC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841" y="3587503"/>
            <a:ext cx="9608144" cy="225190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3C76A3A-F29C-4A63-84AF-8A67FE470241}"/>
              </a:ext>
            </a:extLst>
          </p:cNvPr>
          <p:cNvSpPr/>
          <p:nvPr/>
        </p:nvSpPr>
        <p:spPr>
          <a:xfrm>
            <a:off x="1142841" y="1315090"/>
            <a:ext cx="776262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ully managed PaaS service with monitoring &amp; mgm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Rich out-of-the-box connectivity for hybrid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Scalable and sec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Operationalized for historical and incremental loa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haining with rest of analytics workflow</a:t>
            </a:r>
          </a:p>
        </p:txBody>
      </p:sp>
    </p:spTree>
    <p:extLst>
      <p:ext uri="{BB962C8B-B14F-4D97-AF65-F5344CB8AC3E}">
        <p14:creationId xmlns:p14="http://schemas.microsoft.com/office/powerpoint/2010/main" val="2095270077"/>
      </p:ext>
    </p:extLst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59C52407-C5EC-42E0-9581-FC8CCF8BC1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871" t="1" r="13712" b="86757"/>
          <a:stretch/>
        </p:blipFill>
        <p:spPr>
          <a:xfrm>
            <a:off x="1" y="487"/>
            <a:ext cx="12549947" cy="686537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CC51A34-56B7-4C98-B6E0-BA35E17CDDE5}"/>
              </a:ext>
            </a:extLst>
          </p:cNvPr>
          <p:cNvCxnSpPr>
            <a:cxnSpLocks/>
          </p:cNvCxnSpPr>
          <p:nvPr/>
        </p:nvCxnSpPr>
        <p:spPr>
          <a:xfrm>
            <a:off x="5826762" y="4848339"/>
            <a:ext cx="896425" cy="0"/>
          </a:xfrm>
          <a:prstGeom prst="line">
            <a:avLst/>
          </a:prstGeom>
          <a:ln w="28575">
            <a:solidFill>
              <a:srgbClr val="FF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235632FD-723D-4B36-B5A6-F82AC7701F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861"/>
            <a:ext cx="12549947" cy="7707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989469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89" y="175258"/>
            <a:ext cx="11023275" cy="643969"/>
          </a:xfrm>
        </p:spPr>
        <p:txBody>
          <a:bodyPr>
            <a:noAutofit/>
          </a:bodyPr>
          <a:lstStyle/>
          <a:p>
            <a:r>
              <a:rPr lang="en-US" sz="3920" b="1" spc="0" dirty="0">
                <a:solidFill>
                  <a:srgbClr val="0086AC"/>
                </a:solidFill>
                <a:latin typeface="Segoe UI Light (Headings)"/>
                <a:cs typeface="Segoe UI Semilight" panose="020B0402040204020203" pitchFamily="34" charset="0"/>
              </a:rPr>
              <a:t>Tell us what you think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700448"/>
          </a:xfrm>
        </p:spPr>
        <p:txBody>
          <a:bodyPr/>
          <a:lstStyle/>
          <a:p>
            <a:r>
              <a:rPr lang="en-US" sz="3600" dirty="0"/>
              <a:t>Help us improve by filling out the </a:t>
            </a:r>
            <a:r>
              <a:rPr lang="en-US" sz="3600" u="sng" dirty="0">
                <a:hlinkClick r:id="rId3"/>
              </a:rPr>
              <a:t>feedback survey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656396372"/>
      </p:ext>
    </p:extLst>
  </p:cSld>
  <p:clrMapOvr>
    <a:masterClrMapping/>
  </p:clrMapOvr>
  <p:transition spd="med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303" y="2084378"/>
            <a:ext cx="5724454" cy="1792836"/>
          </a:xfrm>
        </p:spPr>
        <p:txBody>
          <a:bodyPr/>
          <a:lstStyle/>
          <a:p>
            <a:r>
              <a:rPr lang="en-US" dirty="0"/>
              <a:t>Putting the “T” in “ETL”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762249117"/>
      </p:ext>
    </p:extLst>
  </p:cSld>
  <p:clrMapOvr>
    <a:masterClrMapping/>
  </p:clrMapOvr>
  <p:transition spd="slow">
    <p:push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No-code Data Transformation At Sc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39CADE-83B5-44A8-8429-50F1E11541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0821" y="1431369"/>
            <a:ext cx="11311580" cy="4825937"/>
          </a:xfrm>
        </p:spPr>
        <p:txBody>
          <a:bodyPr/>
          <a:lstStyle/>
          <a:p>
            <a:r>
              <a:rPr lang="en-US" sz="3200" dirty="0"/>
              <a:t>Transform data at scale in the cloud with zero-cod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Cloud-first, scale-out EL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Code-free dataflow pipelin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Serverless scale-out transformation execution engine</a:t>
            </a:r>
          </a:p>
          <a:p>
            <a:endParaRPr lang="en-US" sz="3200" dirty="0"/>
          </a:p>
          <a:p>
            <a:r>
              <a:rPr lang="en-US" sz="3200" dirty="0"/>
              <a:t>Maximum Productivity for Data Engineer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Does NOT require understanding of Spark / Scala / Python / Java</a:t>
            </a:r>
          </a:p>
          <a:p>
            <a:endParaRPr lang="en-US" sz="3200" dirty="0"/>
          </a:p>
          <a:p>
            <a:r>
              <a:rPr lang="en-US" sz="3200" dirty="0"/>
              <a:t>Native handling of Schema Drif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Built for big data scenarios with unstructured data requirements</a:t>
            </a:r>
          </a:p>
        </p:txBody>
      </p:sp>
    </p:spTree>
    <p:extLst>
      <p:ext uri="{BB962C8B-B14F-4D97-AF65-F5344CB8AC3E}">
        <p14:creationId xmlns:p14="http://schemas.microsoft.com/office/powerpoint/2010/main" val="1811837224"/>
      </p:ext>
    </p:extLst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78D23-9E2D-4241-A471-B379AFFBA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Code-free Data Transformation At Sc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53DB4-3B4F-47F1-9518-9E527BBCFF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91321" y="1447800"/>
            <a:ext cx="3769463" cy="3623556"/>
          </a:xfrm>
        </p:spPr>
        <p:txBody>
          <a:bodyPr/>
          <a:lstStyle/>
          <a:p>
            <a:pPr marL="0" indent="0">
              <a:buNone/>
            </a:pPr>
            <a:r>
              <a:rPr lang="en-US" sz="2352" dirty="0"/>
              <a:t>Types of transformation:</a:t>
            </a:r>
          </a:p>
          <a:p>
            <a:pPr>
              <a:buFontTx/>
              <a:buChar char="-"/>
            </a:pPr>
            <a:r>
              <a:rPr lang="en-US" sz="2352" dirty="0"/>
              <a:t>Join</a:t>
            </a:r>
          </a:p>
          <a:p>
            <a:pPr>
              <a:buFontTx/>
              <a:buChar char="-"/>
            </a:pPr>
            <a:r>
              <a:rPr lang="en-US" sz="2352" dirty="0"/>
              <a:t>Split</a:t>
            </a:r>
          </a:p>
          <a:p>
            <a:pPr>
              <a:buFontTx/>
              <a:buChar char="-"/>
            </a:pPr>
            <a:r>
              <a:rPr lang="en-US" sz="2352" dirty="0"/>
              <a:t>Union</a:t>
            </a:r>
          </a:p>
          <a:p>
            <a:pPr>
              <a:buFontTx/>
              <a:buChar char="-"/>
            </a:pPr>
            <a:r>
              <a:rPr lang="en-US" sz="2352" dirty="0"/>
              <a:t>Lookup</a:t>
            </a:r>
          </a:p>
          <a:p>
            <a:pPr>
              <a:buFontTx/>
              <a:buChar char="-"/>
            </a:pPr>
            <a:r>
              <a:rPr lang="en-US" sz="2352" dirty="0"/>
              <a:t>Aggregate</a:t>
            </a:r>
          </a:p>
          <a:p>
            <a:pPr>
              <a:buFontTx/>
              <a:buChar char="-"/>
            </a:pPr>
            <a:r>
              <a:rPr lang="en-US" sz="2352" dirty="0"/>
              <a:t>Derived column</a:t>
            </a:r>
          </a:p>
          <a:p>
            <a:pPr>
              <a:buFontTx/>
              <a:buChar char="-"/>
            </a:pPr>
            <a:r>
              <a:rPr lang="en-US" sz="2352" dirty="0"/>
              <a:t>(and many more to come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7F55DC-E0FC-4ED1-9756-E95606713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219" y="1447801"/>
            <a:ext cx="7567165" cy="43586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22458321"/>
      </p:ext>
    </p:extLst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490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89" y="175258"/>
            <a:ext cx="11023275" cy="643969"/>
          </a:xfrm>
        </p:spPr>
        <p:txBody>
          <a:bodyPr>
            <a:noAutofit/>
          </a:bodyPr>
          <a:lstStyle/>
          <a:p>
            <a:r>
              <a:rPr lang="en-US" sz="3920" b="1" spc="0">
                <a:solidFill>
                  <a:srgbClr val="0086AC"/>
                </a:solidFill>
                <a:latin typeface="Segoe UI Light (Headings)"/>
                <a:cs typeface="Segoe UI Semilight" panose="020B0402040204020203" pitchFamily="34" charset="0"/>
              </a:rPr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3120854"/>
          </a:xfrm>
        </p:spPr>
        <p:txBody>
          <a:bodyPr/>
          <a:lstStyle/>
          <a:p>
            <a:r>
              <a:rPr lang="en-US" sz="3600"/>
              <a:t>MDW scenarios</a:t>
            </a:r>
          </a:p>
          <a:p>
            <a:r>
              <a:rPr lang="en-US" sz="3600"/>
              <a:t>ADF overview</a:t>
            </a:r>
          </a:p>
          <a:p>
            <a:r>
              <a:rPr lang="en-US" sz="3600"/>
              <a:t>Loading data using ADF</a:t>
            </a:r>
          </a:p>
          <a:p>
            <a:r>
              <a:rPr lang="en-US" sz="3600"/>
              <a:t>Demo</a:t>
            </a:r>
            <a:endParaRPr lang="en-US" sz="2424"/>
          </a:p>
          <a:p>
            <a:r>
              <a:rPr lang="en-US" sz="3600"/>
              <a:t>Q&amp;A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4120213947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Modern DW for BI</a:t>
            </a:r>
          </a:p>
        </p:txBody>
      </p:sp>
      <p:sp>
        <p:nvSpPr>
          <p:cNvPr id="155" name="Right Bracket 154">
            <a:extLst>
              <a:ext uri="{FF2B5EF4-FFF2-40B4-BE49-F238E27FC236}">
                <a16:creationId xmlns:a16="http://schemas.microsoft.com/office/drawing/2014/main" id="{95F3FD24-C680-420A-A9F6-7D50A86978C7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82365424-865D-457D-9BBF-DD5CC4A6F528}"/>
              </a:ext>
            </a:extLst>
          </p:cNvPr>
          <p:cNvSpPr txBox="1"/>
          <p:nvPr/>
        </p:nvSpPr>
        <p:spPr>
          <a:xfrm>
            <a:off x="290776" y="511826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4F338A48-243F-463B-931C-CF225EE50FDF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15B46A04-3621-4310-B0E1-0D52B0713858}"/>
              </a:ext>
            </a:extLst>
          </p:cNvPr>
          <p:cNvCxnSpPr>
            <a:cxnSpLocks/>
          </p:cNvCxnSpPr>
          <p:nvPr/>
        </p:nvCxnSpPr>
        <p:spPr>
          <a:xfrm>
            <a:off x="5529431" y="2815789"/>
            <a:ext cx="1237066" cy="9756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6847B7D1-2BA7-41ED-9F83-F48A45D15BA7}"/>
              </a:ext>
            </a:extLst>
          </p:cNvPr>
          <p:cNvCxnSpPr>
            <a:cxnSpLocks/>
          </p:cNvCxnSpPr>
          <p:nvPr/>
        </p:nvCxnSpPr>
        <p:spPr>
          <a:xfrm>
            <a:off x="9923284" y="4914098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91785FF7-4C9D-4F76-BA08-59E5249D4295}"/>
              </a:ext>
            </a:extLst>
          </p:cNvPr>
          <p:cNvSpPr/>
          <p:nvPr/>
        </p:nvSpPr>
        <p:spPr>
          <a:xfrm>
            <a:off x="4474006" y="3117106"/>
            <a:ext cx="1392554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 Lake Storage Gen2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06D57630-0B04-4ADA-909E-78036BF6193E}"/>
              </a:ext>
            </a:extLst>
          </p:cNvPr>
          <p:cNvSpPr/>
          <p:nvPr/>
        </p:nvSpPr>
        <p:spPr>
          <a:xfrm>
            <a:off x="4592872" y="4833081"/>
            <a:ext cx="73318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lybase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E2F53166-5CE6-49E9-9730-A4DE18B6D47F}"/>
              </a:ext>
            </a:extLst>
          </p:cNvPr>
          <p:cNvSpPr/>
          <p:nvPr/>
        </p:nvSpPr>
        <p:spPr>
          <a:xfrm>
            <a:off x="8424579" y="5240013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QL Data Warehouse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38C76963-2A0A-45D0-8A4F-B79F1A37CBF7}"/>
              </a:ext>
            </a:extLst>
          </p:cNvPr>
          <p:cNvSpPr/>
          <p:nvPr/>
        </p:nvSpPr>
        <p:spPr>
          <a:xfrm>
            <a:off x="2672827" y="311710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AF3B98BB-4BAA-4E3D-9796-D3361C8CE332}"/>
              </a:ext>
            </a:extLst>
          </p:cNvPr>
          <p:cNvSpPr/>
          <p:nvPr/>
        </p:nvSpPr>
        <p:spPr>
          <a:xfrm>
            <a:off x="2672827" y="5057423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cxnSp>
        <p:nvCxnSpPr>
          <p:cNvPr id="185" name="Connector: Elbow 184">
            <a:extLst>
              <a:ext uri="{FF2B5EF4-FFF2-40B4-BE49-F238E27FC236}">
                <a16:creationId xmlns:a16="http://schemas.microsoft.com/office/drawing/2014/main" id="{98AC8C0D-DC4E-418F-9835-4D75115E487A}"/>
              </a:ext>
            </a:extLst>
          </p:cNvPr>
          <p:cNvCxnSpPr>
            <a:cxnSpLocks/>
            <a:endCxn id="256" idx="0"/>
          </p:cNvCxnSpPr>
          <p:nvPr/>
        </p:nvCxnSpPr>
        <p:spPr>
          <a:xfrm>
            <a:off x="7634177" y="2849402"/>
            <a:ext cx="3634614" cy="1043940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A88C94D-ABDC-4822-9D1A-75F59D8B6C01}"/>
              </a:ext>
            </a:extLst>
          </p:cNvPr>
          <p:cNvSpPr/>
          <p:nvPr/>
        </p:nvSpPr>
        <p:spPr>
          <a:xfrm>
            <a:off x="6502777" y="3117106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0C4A4B8B-24E1-4722-86F0-491FE9D03192}"/>
              </a:ext>
            </a:extLst>
          </p:cNvPr>
          <p:cNvGrpSpPr/>
          <p:nvPr/>
        </p:nvGrpSpPr>
        <p:grpSpPr>
          <a:xfrm>
            <a:off x="553831" y="4618795"/>
            <a:ext cx="1064771" cy="406286"/>
            <a:chOff x="579957" y="1614888"/>
            <a:chExt cx="1064771" cy="406286"/>
          </a:xfrm>
        </p:grpSpPr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D3B1975D-4D05-4582-A9F5-50EAB55A42F0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194" name="Group 193">
                <a:extLst>
                  <a:ext uri="{FF2B5EF4-FFF2-40B4-BE49-F238E27FC236}">
                    <a16:creationId xmlns:a16="http://schemas.microsoft.com/office/drawing/2014/main" id="{F7663B88-AFEA-4DEB-B65E-2C46C4C8F208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1AE0228F-EFBB-4164-AA70-CD0CEDBDEF01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F5208A2F-DA17-4BFA-9748-8E1D47F85C08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98">
                  <a:extLst>
                    <a:ext uri="{FF2B5EF4-FFF2-40B4-BE49-F238E27FC236}">
                      <a16:creationId xmlns:a16="http://schemas.microsoft.com/office/drawing/2014/main" id="{9AFA6CF7-665C-41BA-83E0-76748D4CA7A5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BD6E494A-F711-4376-B43A-385746CB906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BF58D211-B331-456E-B2B3-68B93271F0DD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C15CF9C2-DC6E-478B-AC1F-B273292C322F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</p:grp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4CC16D52-C5B7-4264-BFE1-2F2C545798B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90" name="Freeform 106">
                <a:extLst>
                  <a:ext uri="{FF2B5EF4-FFF2-40B4-BE49-F238E27FC236}">
                    <a16:creationId xmlns:a16="http://schemas.microsoft.com/office/drawing/2014/main" id="{2AE81E74-B11E-4CA4-A6F3-3B908609E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852978AC-5339-4296-8EE2-3AA9C4D2EB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1B9DF657-6398-4E06-BBB3-D7AC39590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D123D044-536D-4A29-A34E-6DDDDDC560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BA85707F-839A-424A-B2A0-D1E98FBDC69A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202" name="Group 4">
              <a:extLst>
                <a:ext uri="{FF2B5EF4-FFF2-40B4-BE49-F238E27FC236}">
                  <a16:creationId xmlns:a16="http://schemas.microsoft.com/office/drawing/2014/main" id="{A180F936-1DCF-4DBC-95C5-36179228A57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214" name="Freeform 5">
                <a:extLst>
                  <a:ext uri="{FF2B5EF4-FFF2-40B4-BE49-F238E27FC236}">
                    <a16:creationId xmlns:a16="http://schemas.microsoft.com/office/drawing/2014/main" id="{9D582CFB-74A3-4DED-ADE3-47E392C0D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5" name="Freeform 6">
                <a:extLst>
                  <a:ext uri="{FF2B5EF4-FFF2-40B4-BE49-F238E27FC236}">
                    <a16:creationId xmlns:a16="http://schemas.microsoft.com/office/drawing/2014/main" id="{C08DE5EA-D647-4173-97F6-B69160EDC7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6" name="Freeform 7">
                <a:extLst>
                  <a:ext uri="{FF2B5EF4-FFF2-40B4-BE49-F238E27FC236}">
                    <a16:creationId xmlns:a16="http://schemas.microsoft.com/office/drawing/2014/main" id="{5F4ABE3C-0A13-4A26-8BF3-E8E44E5EC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03D9BD7B-E9BB-43FE-9446-BC231A2CD89A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207" name="Group 206">
                <a:extLst>
                  <a:ext uri="{FF2B5EF4-FFF2-40B4-BE49-F238E27FC236}">
                    <a16:creationId xmlns:a16="http://schemas.microsoft.com/office/drawing/2014/main" id="{9AC42740-5F08-4653-9338-1EA9E5E64ABD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212" name="Snip Single Corner Rectangle 26">
                  <a:extLst>
                    <a:ext uri="{FF2B5EF4-FFF2-40B4-BE49-F238E27FC236}">
                      <a16:creationId xmlns:a16="http://schemas.microsoft.com/office/drawing/2014/main" id="{D81CE06F-5C18-480A-91C6-BCFB954F2226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3" name="Triangle 27">
                  <a:extLst>
                    <a:ext uri="{FF2B5EF4-FFF2-40B4-BE49-F238E27FC236}">
                      <a16:creationId xmlns:a16="http://schemas.microsoft.com/office/drawing/2014/main" id="{AF1A1921-DF5A-4C0F-ABA9-1B1A6C336659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E6817B1A-0E65-4BDA-AD96-C7B1510BC6A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35C9C49A-7AF7-416E-85C1-7CBF80EA475D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DDAEF2F5-4938-4DAA-99FC-92E2FCC9B4F7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AEA2B76E-2C65-4D73-B1A0-12F6BEFA8F4E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08356157-CBED-409B-A8D1-82D785DED3F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F51EC649-710F-49C7-89D4-41C05E1471BA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6" name="Isosceles Triangle 205">
                <a:extLst>
                  <a:ext uri="{FF2B5EF4-FFF2-40B4-BE49-F238E27FC236}">
                    <a16:creationId xmlns:a16="http://schemas.microsoft.com/office/drawing/2014/main" id="{B6C9DB49-2305-4BDB-B50C-583D0CD563E1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ACFD76B3-52C3-4957-8C9A-9BEAD33F2D21}"/>
              </a:ext>
            </a:extLst>
          </p:cNvPr>
          <p:cNvGrpSpPr/>
          <p:nvPr/>
        </p:nvGrpSpPr>
        <p:grpSpPr>
          <a:xfrm>
            <a:off x="4878110" y="2594469"/>
            <a:ext cx="554226" cy="494220"/>
            <a:chOff x="2488012" y="1320237"/>
            <a:chExt cx="4696415" cy="4187934"/>
          </a:xfrm>
        </p:grpSpPr>
        <p:sp>
          <p:nvSpPr>
            <p:cNvPr id="218" name="Hexagon 217">
              <a:extLst>
                <a:ext uri="{FF2B5EF4-FFF2-40B4-BE49-F238E27FC236}">
                  <a16:creationId xmlns:a16="http://schemas.microsoft.com/office/drawing/2014/main" id="{2A91B5B0-D88F-45CF-AE59-737DBF1B268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Snip Single Corner Rectangle 26">
              <a:extLst>
                <a:ext uri="{FF2B5EF4-FFF2-40B4-BE49-F238E27FC236}">
                  <a16:creationId xmlns:a16="http://schemas.microsoft.com/office/drawing/2014/main" id="{1F4D6FFD-7F2E-49D4-AEDE-48C2882BA2F5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6BF05F4B-9F37-4930-A1BB-00AFDB4176D4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2CB26C17-7F70-4A2E-A066-67C17C8DB648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1189FCDD-E8DF-40ED-B5AB-3D6BE95F1FF6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0144BAA4-01C9-46CC-A1FE-41F39834867B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9EEABC8C-9F5F-4921-B8D0-0D1AF521D512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1" name="Right Triangle 220">
              <a:extLst>
                <a:ext uri="{FF2B5EF4-FFF2-40B4-BE49-F238E27FC236}">
                  <a16:creationId xmlns:a16="http://schemas.microsoft.com/office/drawing/2014/main" id="{0E7E8C24-3299-4341-969B-653A0D97635A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379BCE43-AECC-4A67-8CCD-78DA8DD5B336}"/>
              </a:ext>
            </a:extLst>
          </p:cNvPr>
          <p:cNvGrpSpPr/>
          <p:nvPr/>
        </p:nvGrpSpPr>
        <p:grpSpPr>
          <a:xfrm>
            <a:off x="9081256" y="4439748"/>
            <a:ext cx="732312" cy="719160"/>
            <a:chOff x="2549926" y="1227604"/>
            <a:chExt cx="5177116" cy="5084148"/>
          </a:xfrm>
        </p:grpSpPr>
        <p:sp>
          <p:nvSpPr>
            <p:cNvPr id="227" name="Freeform: Shape 821">
              <a:extLst>
                <a:ext uri="{FF2B5EF4-FFF2-40B4-BE49-F238E27FC236}">
                  <a16:creationId xmlns:a16="http://schemas.microsoft.com/office/drawing/2014/main" id="{644ADA88-6537-4CC5-92A0-2C0B29722B29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836437FE-98E1-44E0-8F10-32F4E8E76744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77FE236E-00BA-475C-925A-6F209F976764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F94631E6-296F-416E-9BB6-209EEE29A9A7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0D82F08C-0183-45AE-91EF-A0A05D07C50F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3C328A51-1C3A-40C5-B74E-FF71A43AEC48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01FEAE0E-8FD7-45C5-92CA-5F089DE50647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Cylinder 828">
              <a:extLst>
                <a:ext uri="{FF2B5EF4-FFF2-40B4-BE49-F238E27FC236}">
                  <a16:creationId xmlns:a16="http://schemas.microsoft.com/office/drawing/2014/main" id="{3FC58174-45E2-44AD-A09E-0718C25DDF96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2C711776-E149-4F75-AFD3-59EB67F65E1E}"/>
              </a:ext>
            </a:extLst>
          </p:cNvPr>
          <p:cNvGrpSpPr/>
          <p:nvPr/>
        </p:nvGrpSpPr>
        <p:grpSpPr>
          <a:xfrm>
            <a:off x="2953700" y="2597853"/>
            <a:ext cx="485337" cy="487453"/>
            <a:chOff x="5279190" y="5401430"/>
            <a:chExt cx="1101836" cy="1106637"/>
          </a:xfrm>
        </p:grpSpPr>
        <p:sp>
          <p:nvSpPr>
            <p:cNvPr id="236" name="Freeform: Shape 815">
              <a:extLst>
                <a:ext uri="{FF2B5EF4-FFF2-40B4-BE49-F238E27FC236}">
                  <a16:creationId xmlns:a16="http://schemas.microsoft.com/office/drawing/2014/main" id="{2B8465E2-9D20-4AB2-A850-C964298268B2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7" name="Freeform: Shape 816">
              <a:extLst>
                <a:ext uri="{FF2B5EF4-FFF2-40B4-BE49-F238E27FC236}">
                  <a16:creationId xmlns:a16="http://schemas.microsoft.com/office/drawing/2014/main" id="{7DF0C52A-D030-4F44-8E2E-E013E51103A0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8" name="Freeform: Shape 817">
              <a:extLst>
                <a:ext uri="{FF2B5EF4-FFF2-40B4-BE49-F238E27FC236}">
                  <a16:creationId xmlns:a16="http://schemas.microsoft.com/office/drawing/2014/main" id="{EB43C86E-F81C-4379-91E7-4B081F3B8C08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9" name="Freeform: Shape 818">
              <a:extLst>
                <a:ext uri="{FF2B5EF4-FFF2-40B4-BE49-F238E27FC236}">
                  <a16:creationId xmlns:a16="http://schemas.microsoft.com/office/drawing/2014/main" id="{02A02B4F-40AC-420C-998D-28F31DE902FD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40" name="Freeform: Shape 819">
              <a:extLst>
                <a:ext uri="{FF2B5EF4-FFF2-40B4-BE49-F238E27FC236}">
                  <a16:creationId xmlns:a16="http://schemas.microsoft.com/office/drawing/2014/main" id="{250DDAA1-06F9-470C-B041-1F4DD77E409E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DE4C24EB-DCCD-46F8-8A4C-B194A923741D}"/>
              </a:ext>
            </a:extLst>
          </p:cNvPr>
          <p:cNvCxnSpPr>
            <a:cxnSpLocks/>
            <a:stCxn id="170" idx="2"/>
          </p:cNvCxnSpPr>
          <p:nvPr/>
        </p:nvCxnSpPr>
        <p:spPr>
          <a:xfrm rot="16200000" flipH="1">
            <a:off x="6425813" y="2277074"/>
            <a:ext cx="1129678" cy="3640738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AA7B7D6F-3B7E-46B1-9686-48E2509D6352}"/>
              </a:ext>
            </a:extLst>
          </p:cNvPr>
          <p:cNvCxnSpPr>
            <a:cxnSpLocks/>
          </p:cNvCxnSpPr>
          <p:nvPr/>
        </p:nvCxnSpPr>
        <p:spPr>
          <a:xfrm>
            <a:off x="3572438" y="483662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Arrow Connector 242">
            <a:extLst>
              <a:ext uri="{FF2B5EF4-FFF2-40B4-BE49-F238E27FC236}">
                <a16:creationId xmlns:a16="http://schemas.microsoft.com/office/drawing/2014/main" id="{303E9029-72B0-4A9D-8810-3A09B49E9137}"/>
              </a:ext>
            </a:extLst>
          </p:cNvPr>
          <p:cNvCxnSpPr>
            <a:cxnSpLocks/>
          </p:cNvCxnSpPr>
          <p:nvPr/>
        </p:nvCxnSpPr>
        <p:spPr>
          <a:xfrm>
            <a:off x="3572437" y="2828043"/>
            <a:ext cx="118782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Arrow Connector 243">
            <a:extLst>
              <a:ext uri="{FF2B5EF4-FFF2-40B4-BE49-F238E27FC236}">
                <a16:creationId xmlns:a16="http://schemas.microsoft.com/office/drawing/2014/main" id="{0831E5F1-BF93-47A7-9FCA-355022A895B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Arrow Connector 244">
            <a:extLst>
              <a:ext uri="{FF2B5EF4-FFF2-40B4-BE49-F238E27FC236}">
                <a16:creationId xmlns:a16="http://schemas.microsoft.com/office/drawing/2014/main" id="{273F52C6-F86E-4C99-9D4C-14FC4C486DF3}"/>
              </a:ext>
            </a:extLst>
          </p:cNvPr>
          <p:cNvCxnSpPr>
            <a:cxnSpLocks/>
          </p:cNvCxnSpPr>
          <p:nvPr/>
        </p:nvCxnSpPr>
        <p:spPr>
          <a:xfrm>
            <a:off x="2316994" y="4834959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ABCBAFDB-E5BE-4925-ADA1-D02421E4D6AE}"/>
              </a:ext>
            </a:extLst>
          </p:cNvPr>
          <p:cNvGrpSpPr/>
          <p:nvPr/>
        </p:nvGrpSpPr>
        <p:grpSpPr>
          <a:xfrm>
            <a:off x="2953700" y="4519140"/>
            <a:ext cx="485337" cy="487453"/>
            <a:chOff x="5279190" y="5401430"/>
            <a:chExt cx="1101836" cy="1106637"/>
          </a:xfrm>
        </p:grpSpPr>
        <p:sp>
          <p:nvSpPr>
            <p:cNvPr id="247" name="Freeform: Shape 815">
              <a:extLst>
                <a:ext uri="{FF2B5EF4-FFF2-40B4-BE49-F238E27FC236}">
                  <a16:creationId xmlns:a16="http://schemas.microsoft.com/office/drawing/2014/main" id="{73BFD031-A6F6-4371-A934-5BC3EA323AA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8" name="Freeform: Shape 816">
              <a:extLst>
                <a:ext uri="{FF2B5EF4-FFF2-40B4-BE49-F238E27FC236}">
                  <a16:creationId xmlns:a16="http://schemas.microsoft.com/office/drawing/2014/main" id="{5DB2FBED-40CA-4C29-88DF-9B607E3A8DD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9" name="Freeform: Shape 817">
              <a:extLst>
                <a:ext uri="{FF2B5EF4-FFF2-40B4-BE49-F238E27FC236}">
                  <a16:creationId xmlns:a16="http://schemas.microsoft.com/office/drawing/2014/main" id="{F71923D8-DAE9-4303-9907-8749A9133330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0" name="Freeform: Shape 818">
              <a:extLst>
                <a:ext uri="{FF2B5EF4-FFF2-40B4-BE49-F238E27FC236}">
                  <a16:creationId xmlns:a16="http://schemas.microsoft.com/office/drawing/2014/main" id="{927E12B2-DAFA-4255-A3A5-576D29F99385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51" name="Freeform: Shape 819">
              <a:extLst>
                <a:ext uri="{FF2B5EF4-FFF2-40B4-BE49-F238E27FC236}">
                  <a16:creationId xmlns:a16="http://schemas.microsoft.com/office/drawing/2014/main" id="{9D192C22-CD62-4151-88A6-8BD5EA4CFF7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52" name="Shape 101">
            <a:extLst>
              <a:ext uri="{FF2B5EF4-FFF2-40B4-BE49-F238E27FC236}">
                <a16:creationId xmlns:a16="http://schemas.microsoft.com/office/drawing/2014/main" id="{00969007-6EEB-41AD-B0B6-5182BABE8637}"/>
              </a:ext>
            </a:extLst>
          </p:cNvPr>
          <p:cNvSpPr txBox="1"/>
          <p:nvPr/>
        </p:nvSpPr>
        <p:spPr>
          <a:xfrm>
            <a:off x="10615278" y="4609681"/>
            <a:ext cx="1516015" cy="415458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Analytical dashboard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(PowerBI)</a:t>
            </a: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B4BD7B08-E7F5-4C64-B2ED-E8BBFE0E7771}"/>
              </a:ext>
            </a:extLst>
          </p:cNvPr>
          <p:cNvGrpSpPr/>
          <p:nvPr/>
        </p:nvGrpSpPr>
        <p:grpSpPr>
          <a:xfrm>
            <a:off x="10934103" y="3893342"/>
            <a:ext cx="669375" cy="526560"/>
            <a:chOff x="10725498" y="5087603"/>
            <a:chExt cx="498940" cy="424437"/>
          </a:xfrm>
        </p:grpSpPr>
        <p:sp>
          <p:nvSpPr>
            <p:cNvPr id="254" name="graph_2">
              <a:extLst>
                <a:ext uri="{FF2B5EF4-FFF2-40B4-BE49-F238E27FC236}">
                  <a16:creationId xmlns:a16="http://schemas.microsoft.com/office/drawing/2014/main" id="{84E0E811-BEC5-4CFC-902D-7932316618A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4A64007F-6686-4886-AB09-84F350169B3A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256" name="Rectangle 9">
                <a:extLst>
                  <a:ext uri="{FF2B5EF4-FFF2-40B4-BE49-F238E27FC236}">
                    <a16:creationId xmlns:a16="http://schemas.microsoft.com/office/drawing/2014/main" id="{F749FC14-2B94-489C-8AD9-3A859E908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Line 10">
                <a:extLst>
                  <a:ext uri="{FF2B5EF4-FFF2-40B4-BE49-F238E27FC236}">
                    <a16:creationId xmlns:a16="http://schemas.microsoft.com/office/drawing/2014/main" id="{7F10F438-3750-4D7C-A15E-FA496FD6D2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Oval 11">
                <a:extLst>
                  <a:ext uri="{FF2B5EF4-FFF2-40B4-BE49-F238E27FC236}">
                    <a16:creationId xmlns:a16="http://schemas.microsoft.com/office/drawing/2014/main" id="{B035D68F-9F4C-4D79-89C0-1D530996B4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Oval 12">
                <a:extLst>
                  <a:ext uri="{FF2B5EF4-FFF2-40B4-BE49-F238E27FC236}">
                    <a16:creationId xmlns:a16="http://schemas.microsoft.com/office/drawing/2014/main" id="{39F0762C-2E98-4F4C-8DEC-7DE979521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Oval 13">
                <a:extLst>
                  <a:ext uri="{FF2B5EF4-FFF2-40B4-BE49-F238E27FC236}">
                    <a16:creationId xmlns:a16="http://schemas.microsoft.com/office/drawing/2014/main" id="{3BDEEDB8-9AE7-41A5-A7F4-F640D17F3C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1FC833C-9CE0-4003-B47E-0058F8949D01}"/>
              </a:ext>
            </a:extLst>
          </p:cNvPr>
          <p:cNvGrpSpPr/>
          <p:nvPr/>
        </p:nvGrpSpPr>
        <p:grpSpPr>
          <a:xfrm>
            <a:off x="6919439" y="2598745"/>
            <a:ext cx="595274" cy="485668"/>
            <a:chOff x="5818113" y="2550840"/>
            <a:chExt cx="529278" cy="431824"/>
          </a:xfrm>
        </p:grpSpPr>
        <p:sp>
          <p:nvSpPr>
            <p:cNvPr id="262" name="Diamond 261">
              <a:extLst>
                <a:ext uri="{FF2B5EF4-FFF2-40B4-BE49-F238E27FC236}">
                  <a16:creationId xmlns:a16="http://schemas.microsoft.com/office/drawing/2014/main" id="{332B31D9-F18D-415D-B91F-BD681AB9839D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58B88DB3-8EF6-4468-91ED-24663221ECB0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4" name="Rectangle 263">
            <a:extLst>
              <a:ext uri="{FF2B5EF4-FFF2-40B4-BE49-F238E27FC236}">
                <a16:creationId xmlns:a16="http://schemas.microsoft.com/office/drawing/2014/main" id="{05B94146-6E2B-498D-A97A-9A15C27088E8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5DB140A0-9E6A-442E-85A3-EAD45F17C91A}"/>
              </a:ext>
            </a:extLst>
          </p:cNvPr>
          <p:cNvSpPr/>
          <p:nvPr/>
        </p:nvSpPr>
        <p:spPr bwMode="auto">
          <a:xfrm>
            <a:off x="861602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32329837-BBF4-4121-B786-D896A0A66A20}"/>
              </a:ext>
            </a:extLst>
          </p:cNvPr>
          <p:cNvSpPr/>
          <p:nvPr/>
        </p:nvSpPr>
        <p:spPr bwMode="auto">
          <a:xfrm>
            <a:off x="6608998" y="1759613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BA11A9EF-93FF-47D4-BB2D-C2F1C49050C4}"/>
              </a:ext>
            </a:extLst>
          </p:cNvPr>
          <p:cNvSpPr/>
          <p:nvPr/>
        </p:nvSpPr>
        <p:spPr bwMode="auto">
          <a:xfrm>
            <a:off x="4564817" y="1759613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A7F82475-21A5-470C-98C2-141C176396E3}"/>
              </a:ext>
            </a:extLst>
          </p:cNvPr>
          <p:cNvSpPr/>
          <p:nvPr/>
        </p:nvSpPr>
        <p:spPr bwMode="auto">
          <a:xfrm>
            <a:off x="2609300" y="1759613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269" name="Connector: Elbow 268">
            <a:extLst>
              <a:ext uri="{FF2B5EF4-FFF2-40B4-BE49-F238E27FC236}">
                <a16:creationId xmlns:a16="http://schemas.microsoft.com/office/drawing/2014/main" id="{FA5B3583-4869-485D-A81D-DBBB4A2AA081}"/>
              </a:ext>
            </a:extLst>
          </p:cNvPr>
          <p:cNvCxnSpPr>
            <a:cxnSpLocks/>
            <a:stCxn id="186" idx="2"/>
          </p:cNvCxnSpPr>
          <p:nvPr/>
        </p:nvCxnSpPr>
        <p:spPr>
          <a:xfrm rot="16200000" flipH="1">
            <a:off x="7519732" y="3229948"/>
            <a:ext cx="988632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B50F891-5682-453C-9AB1-790914252364}"/>
              </a:ext>
            </a:extLst>
          </p:cNvPr>
          <p:cNvSpPr/>
          <p:nvPr/>
        </p:nvSpPr>
        <p:spPr bwMode="auto">
          <a:xfrm>
            <a:off x="1042029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pic>
        <p:nvPicPr>
          <p:cNvPr id="271" name="Picture 270">
            <a:extLst>
              <a:ext uri="{FF2B5EF4-FFF2-40B4-BE49-F238E27FC236}">
                <a16:creationId xmlns:a16="http://schemas.microsoft.com/office/drawing/2014/main" id="{6935DE22-29D1-410F-8A14-1920A525DC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77608" y="3511629"/>
            <a:ext cx="695422" cy="528711"/>
          </a:xfrm>
          <a:prstGeom prst="rect">
            <a:avLst/>
          </a:prstGeom>
        </p:spPr>
      </p:pic>
      <p:sp>
        <p:nvSpPr>
          <p:cNvPr id="272" name="Rectangle 271">
            <a:extLst>
              <a:ext uri="{FF2B5EF4-FFF2-40B4-BE49-F238E27FC236}">
                <a16:creationId xmlns:a16="http://schemas.microsoft.com/office/drawing/2014/main" id="{DE3AD066-FA0E-45A5-8D6C-0270D1F46D1B}"/>
              </a:ext>
            </a:extLst>
          </p:cNvPr>
          <p:cNvSpPr/>
          <p:nvPr/>
        </p:nvSpPr>
        <p:spPr>
          <a:xfrm>
            <a:off x="8459952" y="4069120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Analysis Services</a:t>
            </a:r>
          </a:p>
        </p:txBody>
      </p:sp>
      <p:pic>
        <p:nvPicPr>
          <p:cNvPr id="273" name="Picture 272">
            <a:extLst>
              <a:ext uri="{FF2B5EF4-FFF2-40B4-BE49-F238E27FC236}">
                <a16:creationId xmlns:a16="http://schemas.microsoft.com/office/drawing/2014/main" id="{F8D47981-55B9-428B-BECC-8B89E7893E4F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50000"/>
          </a:blip>
          <a:stretch>
            <a:fillRect/>
          </a:stretch>
        </p:blipFill>
        <p:spPr>
          <a:xfrm>
            <a:off x="291567" y="3130285"/>
            <a:ext cx="674300" cy="835851"/>
          </a:xfrm>
          <a:prstGeom prst="rect">
            <a:avLst/>
          </a:prstGeom>
        </p:spPr>
      </p:pic>
      <p:sp>
        <p:nvSpPr>
          <p:cNvPr id="274" name="TextBox 273">
            <a:extLst>
              <a:ext uri="{FF2B5EF4-FFF2-40B4-BE49-F238E27FC236}">
                <a16:creationId xmlns:a16="http://schemas.microsoft.com/office/drawing/2014/main" id="{B155FF6A-CE7F-4249-BED7-8E8718FA2790}"/>
              </a:ext>
            </a:extLst>
          </p:cNvPr>
          <p:cNvSpPr txBox="1"/>
          <p:nvPr/>
        </p:nvSpPr>
        <p:spPr>
          <a:xfrm>
            <a:off x="186918" y="402091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 Prem, Cloud 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 &amp; Data</a:t>
            </a:r>
          </a:p>
        </p:txBody>
      </p:sp>
      <p:sp>
        <p:nvSpPr>
          <p:cNvPr id="275" name="Freeform 5">
            <a:extLst>
              <a:ext uri="{FF2B5EF4-FFF2-40B4-BE49-F238E27FC236}">
                <a16:creationId xmlns:a16="http://schemas.microsoft.com/office/drawing/2014/main" id="{DC3BD6CD-E7C0-434E-8210-9AC897446196}"/>
              </a:ext>
            </a:extLst>
          </p:cNvPr>
          <p:cNvSpPr>
            <a:spLocks noChangeAspect="1"/>
          </p:cNvSpPr>
          <p:nvPr/>
        </p:nvSpPr>
        <p:spPr bwMode="black">
          <a:xfrm>
            <a:off x="1051049" y="3582349"/>
            <a:ext cx="600583" cy="330255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82D339C9-9CF3-4CA0-A6D1-9C78501AE14A}"/>
              </a:ext>
            </a:extLst>
          </p:cNvPr>
          <p:cNvCxnSpPr>
            <a:cxnSpLocks/>
          </p:cNvCxnSpPr>
          <p:nvPr/>
        </p:nvCxnSpPr>
        <p:spPr>
          <a:xfrm>
            <a:off x="9923284" y="4026920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61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Modern DW for SaaS Apps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AAB7AB2E-9D5C-4788-B2F4-EE700A0388EF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791EFB-96A9-4E66-ACEC-C194A559409A}"/>
              </a:ext>
            </a:extLst>
          </p:cNvPr>
          <p:cNvSpPr txBox="1"/>
          <p:nvPr/>
        </p:nvSpPr>
        <p:spPr>
          <a:xfrm>
            <a:off x="311881" y="5085539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49F09-C938-4C36-91F1-0E86A9B3417A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24C9B85-10B5-4EAF-8EAB-5F4CEB20D66E}"/>
              </a:ext>
            </a:extLst>
          </p:cNvPr>
          <p:cNvCxnSpPr>
            <a:cxnSpLocks/>
          </p:cNvCxnSpPr>
          <p:nvPr/>
        </p:nvCxnSpPr>
        <p:spPr>
          <a:xfrm flipV="1">
            <a:off x="5396665" y="2825545"/>
            <a:ext cx="1369832" cy="2498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DB4AB5D-B77D-463B-8BE8-7367184C8FFC}"/>
              </a:ext>
            </a:extLst>
          </p:cNvPr>
          <p:cNvCxnSpPr>
            <a:cxnSpLocks/>
          </p:cNvCxnSpPr>
          <p:nvPr/>
        </p:nvCxnSpPr>
        <p:spPr>
          <a:xfrm>
            <a:off x="9922847" y="5387437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1DCE89DA-0FB9-4094-AC69-A37A7F5B3240}"/>
              </a:ext>
            </a:extLst>
          </p:cNvPr>
          <p:cNvSpPr/>
          <p:nvPr/>
        </p:nvSpPr>
        <p:spPr>
          <a:xfrm>
            <a:off x="4250147" y="2993800"/>
            <a:ext cx="1392554" cy="57708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32597">
              <a:defRPr/>
            </a:pPr>
            <a:r>
              <a:rPr lang="en-US" sz="1050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Data Lake Storage Gen2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FE07D9-C13C-4DE2-8538-EF180B5821AF}"/>
              </a:ext>
            </a:extLst>
          </p:cNvPr>
          <p:cNvSpPr/>
          <p:nvPr/>
        </p:nvSpPr>
        <p:spPr>
          <a:xfrm>
            <a:off x="2672827" y="299380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4252A1-28FB-4074-B493-D608E904E0A0}"/>
              </a:ext>
            </a:extLst>
          </p:cNvPr>
          <p:cNvSpPr/>
          <p:nvPr/>
        </p:nvSpPr>
        <p:spPr>
          <a:xfrm>
            <a:off x="2667836" y="4965229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D9C763-FE96-4705-BBA1-754982D1464A}"/>
              </a:ext>
            </a:extLst>
          </p:cNvPr>
          <p:cNvSpPr/>
          <p:nvPr/>
        </p:nvSpPr>
        <p:spPr>
          <a:xfrm>
            <a:off x="6502777" y="2993800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ABF78C-A11E-4DD9-9A98-C1CD78CA4978}"/>
              </a:ext>
            </a:extLst>
          </p:cNvPr>
          <p:cNvGrpSpPr/>
          <p:nvPr/>
        </p:nvGrpSpPr>
        <p:grpSpPr>
          <a:xfrm>
            <a:off x="574936" y="4586070"/>
            <a:ext cx="1064771" cy="406286"/>
            <a:chOff x="579957" y="1614888"/>
            <a:chExt cx="1064771" cy="40628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14A75FA-EEAE-4FF6-9C7D-AB9303B3999F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40FCCE03-ABBA-40E0-A16C-7477921A64D7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9269CBA2-A58E-43AB-85D5-FB4106817065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5F2CEDB-321B-4F3D-BE39-3A5BF4EDF03B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942AC1CC-2E27-4FA8-8711-0DE23AEB4620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5279ADB5-CB8F-4BEE-BEC8-BC24BE048D7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644D0E42-3542-444F-B3C3-3FA706B5E591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BD88F1A4-F10F-4E58-B794-A23CA0729A0E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3B1927C-72EE-4C31-92FE-C4AB7B9BB94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8" name="Freeform 106">
                <a:extLst>
                  <a:ext uri="{FF2B5EF4-FFF2-40B4-BE49-F238E27FC236}">
                    <a16:creationId xmlns:a16="http://schemas.microsoft.com/office/drawing/2014/main" id="{55D6D5DE-61D3-4102-8FD1-6750E45B4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670BAFFE-8F68-44DB-B3CC-2646CCB23B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D445FC8-A5E9-444A-A18D-B23C1EE2D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4FFC060-796A-43DE-A859-427D3DBD9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A03717A-8594-4713-8DE5-8B6A85722A08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30" name="Group 4">
              <a:extLst>
                <a:ext uri="{FF2B5EF4-FFF2-40B4-BE49-F238E27FC236}">
                  <a16:creationId xmlns:a16="http://schemas.microsoft.com/office/drawing/2014/main" id="{9162E49A-1092-4577-99D2-5F5C04904C6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42" name="Freeform 5">
                <a:extLst>
                  <a:ext uri="{FF2B5EF4-FFF2-40B4-BE49-F238E27FC236}">
                    <a16:creationId xmlns:a16="http://schemas.microsoft.com/office/drawing/2014/main" id="{15EC4908-3D30-4842-99FD-48F7028C2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" name="Freeform 6">
                <a:extLst>
                  <a:ext uri="{FF2B5EF4-FFF2-40B4-BE49-F238E27FC236}">
                    <a16:creationId xmlns:a16="http://schemas.microsoft.com/office/drawing/2014/main" id="{D5217147-88CF-468A-A16B-FFADD5F80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EF129020-94C6-4A07-8E59-4E4FA5A45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8406CD5-5DF3-4C4B-911F-BFC9E65E890D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3C1873A-6823-4C9B-B05A-7960726710CE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40" name="Snip Single Corner Rectangle 26">
                  <a:extLst>
                    <a:ext uri="{FF2B5EF4-FFF2-40B4-BE49-F238E27FC236}">
                      <a16:creationId xmlns:a16="http://schemas.microsoft.com/office/drawing/2014/main" id="{1F4F5379-77C6-4660-B7BE-BCD042698837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Triangle 27">
                  <a:extLst>
                    <a:ext uri="{FF2B5EF4-FFF2-40B4-BE49-F238E27FC236}">
                      <a16:creationId xmlns:a16="http://schemas.microsoft.com/office/drawing/2014/main" id="{FF271D8E-12FF-4053-A869-A15F54A70B9D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34AB135-F31D-44F4-84FE-4815FA8D4F0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B95863E-6698-48D0-9B81-ED649AB79192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421CBBA-9E14-465B-A6F6-60F01EEAFC2D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F0808B3-4F31-47C5-9066-B399FEF042AA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1044339-D151-414A-B209-4CD37E76311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2737603C-EFE6-47A9-A50F-47FAABD7155D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Isosceles Triangle 33">
                <a:extLst>
                  <a:ext uri="{FF2B5EF4-FFF2-40B4-BE49-F238E27FC236}">
                    <a16:creationId xmlns:a16="http://schemas.microsoft.com/office/drawing/2014/main" id="{A6B6A7B8-0E11-4EDD-96A6-A4B54BD6EF20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52EE3C2-464C-4F61-977A-EC4E06D2032C}"/>
              </a:ext>
            </a:extLst>
          </p:cNvPr>
          <p:cNvGrpSpPr/>
          <p:nvPr/>
        </p:nvGrpSpPr>
        <p:grpSpPr>
          <a:xfrm>
            <a:off x="4674257" y="2505757"/>
            <a:ext cx="554226" cy="494220"/>
            <a:chOff x="2488012" y="1320237"/>
            <a:chExt cx="4696415" cy="4187934"/>
          </a:xfrm>
        </p:grpSpPr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3359A687-7A20-448C-824C-5F1637BF134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Snip Single Corner Rectangle 26">
              <a:extLst>
                <a:ext uri="{FF2B5EF4-FFF2-40B4-BE49-F238E27FC236}">
                  <a16:creationId xmlns:a16="http://schemas.microsoft.com/office/drawing/2014/main" id="{71B0BDD6-18D2-47EF-947B-3E6BEF64B5F2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96A4236-44A0-4C1B-8760-BCC4060F9EE9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6C73A95-3C6E-4813-B92E-6565A9EC93C1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3AFF0096-56CB-4435-8D70-9E127882C8F9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43F8457-79ED-405E-BB02-1C2D578FF67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307F8690-458C-46F9-854F-6AEFA9AF47DC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9" name="Right Triangle 48">
              <a:extLst>
                <a:ext uri="{FF2B5EF4-FFF2-40B4-BE49-F238E27FC236}">
                  <a16:creationId xmlns:a16="http://schemas.microsoft.com/office/drawing/2014/main" id="{90EE31FE-558D-45A3-90F5-711F798B717E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10FCD9-CF09-409D-9494-7D6E20EBC8EE}"/>
              </a:ext>
            </a:extLst>
          </p:cNvPr>
          <p:cNvGrpSpPr/>
          <p:nvPr/>
        </p:nvGrpSpPr>
        <p:grpSpPr>
          <a:xfrm>
            <a:off x="2953700" y="2509141"/>
            <a:ext cx="485337" cy="487453"/>
            <a:chOff x="5279190" y="5401430"/>
            <a:chExt cx="1101836" cy="1106637"/>
          </a:xfrm>
        </p:grpSpPr>
        <p:sp>
          <p:nvSpPr>
            <p:cNvPr id="55" name="Freeform: Shape 815">
              <a:extLst>
                <a:ext uri="{FF2B5EF4-FFF2-40B4-BE49-F238E27FC236}">
                  <a16:creationId xmlns:a16="http://schemas.microsoft.com/office/drawing/2014/main" id="{5B022782-7D95-490E-A5B3-6DABAFA6AFB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816">
              <a:extLst>
                <a:ext uri="{FF2B5EF4-FFF2-40B4-BE49-F238E27FC236}">
                  <a16:creationId xmlns:a16="http://schemas.microsoft.com/office/drawing/2014/main" id="{B6D0B159-8E79-4651-8354-04063FF1EF32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817">
              <a:extLst>
                <a:ext uri="{FF2B5EF4-FFF2-40B4-BE49-F238E27FC236}">
                  <a16:creationId xmlns:a16="http://schemas.microsoft.com/office/drawing/2014/main" id="{28B123D4-6392-455E-A473-74E033051344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818">
              <a:extLst>
                <a:ext uri="{FF2B5EF4-FFF2-40B4-BE49-F238E27FC236}">
                  <a16:creationId xmlns:a16="http://schemas.microsoft.com/office/drawing/2014/main" id="{2D004FE4-3242-4351-A813-18EEFC28BE3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59" name="Freeform: Shape 819">
              <a:extLst>
                <a:ext uri="{FF2B5EF4-FFF2-40B4-BE49-F238E27FC236}">
                  <a16:creationId xmlns:a16="http://schemas.microsoft.com/office/drawing/2014/main" id="{8A5067FE-D096-4DCC-A607-A78A28437174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89C201B-BDD0-47C1-A002-032C88B051C8}"/>
              </a:ext>
            </a:extLst>
          </p:cNvPr>
          <p:cNvCxnSpPr>
            <a:cxnSpLocks/>
            <a:stCxn id="10" idx="2"/>
          </p:cNvCxnSpPr>
          <p:nvPr/>
        </p:nvCxnSpPr>
        <p:spPr>
          <a:xfrm rot="16200000" flipH="1">
            <a:off x="6371128" y="2146177"/>
            <a:ext cx="1015191" cy="3864598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0953159-B614-4014-B2A8-F3BCF6E1604B}"/>
              </a:ext>
            </a:extLst>
          </p:cNvPr>
          <p:cNvCxnSpPr>
            <a:cxnSpLocks/>
          </p:cNvCxnSpPr>
          <p:nvPr/>
        </p:nvCxnSpPr>
        <p:spPr>
          <a:xfrm>
            <a:off x="3572438" y="471291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FFB9E69-706A-487E-8726-27C8E5CCB939}"/>
              </a:ext>
            </a:extLst>
          </p:cNvPr>
          <p:cNvCxnSpPr>
            <a:cxnSpLocks/>
          </p:cNvCxnSpPr>
          <p:nvPr/>
        </p:nvCxnSpPr>
        <p:spPr>
          <a:xfrm flipV="1">
            <a:off x="3572437" y="2818791"/>
            <a:ext cx="933638" cy="925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C628E4C-A7AD-46A7-ADF3-DA9942BCCA0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664EEE28-2950-4FEC-B238-E9A347F8183C}"/>
              </a:ext>
            </a:extLst>
          </p:cNvPr>
          <p:cNvCxnSpPr>
            <a:cxnSpLocks/>
          </p:cNvCxnSpPr>
          <p:nvPr/>
        </p:nvCxnSpPr>
        <p:spPr>
          <a:xfrm>
            <a:off x="2316994" y="4635035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6E34673-8320-494E-9355-5D7373268EB5}"/>
              </a:ext>
            </a:extLst>
          </p:cNvPr>
          <p:cNvGrpSpPr/>
          <p:nvPr/>
        </p:nvGrpSpPr>
        <p:grpSpPr>
          <a:xfrm>
            <a:off x="2953700" y="4395430"/>
            <a:ext cx="485337" cy="487453"/>
            <a:chOff x="5279190" y="5401430"/>
            <a:chExt cx="1101836" cy="1106637"/>
          </a:xfrm>
        </p:grpSpPr>
        <p:sp>
          <p:nvSpPr>
            <p:cNvPr id="66" name="Freeform: Shape 815">
              <a:extLst>
                <a:ext uri="{FF2B5EF4-FFF2-40B4-BE49-F238E27FC236}">
                  <a16:creationId xmlns:a16="http://schemas.microsoft.com/office/drawing/2014/main" id="{9503E7E0-2F38-44AE-9453-3FADECE2DE14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7" name="Freeform: Shape 816">
              <a:extLst>
                <a:ext uri="{FF2B5EF4-FFF2-40B4-BE49-F238E27FC236}">
                  <a16:creationId xmlns:a16="http://schemas.microsoft.com/office/drawing/2014/main" id="{D42502AB-5592-412F-9692-BB6C583CC64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Freeform: Shape 817">
              <a:extLst>
                <a:ext uri="{FF2B5EF4-FFF2-40B4-BE49-F238E27FC236}">
                  <a16:creationId xmlns:a16="http://schemas.microsoft.com/office/drawing/2014/main" id="{27C8707D-98F8-4568-A4BD-442DFA8670D7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Freeform: Shape 818">
              <a:extLst>
                <a:ext uri="{FF2B5EF4-FFF2-40B4-BE49-F238E27FC236}">
                  <a16:creationId xmlns:a16="http://schemas.microsoft.com/office/drawing/2014/main" id="{4EF73B00-CAB3-43CA-97AA-60092C17980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70" name="Freeform: Shape 819">
              <a:extLst>
                <a:ext uri="{FF2B5EF4-FFF2-40B4-BE49-F238E27FC236}">
                  <a16:creationId xmlns:a16="http://schemas.microsoft.com/office/drawing/2014/main" id="{32A8B49E-5908-4040-B13C-988A5D54DC3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1" name="Shape 101">
            <a:extLst>
              <a:ext uri="{FF2B5EF4-FFF2-40B4-BE49-F238E27FC236}">
                <a16:creationId xmlns:a16="http://schemas.microsoft.com/office/drawing/2014/main" id="{643E2A7F-6E30-4334-AC9D-4359271E42A6}"/>
              </a:ext>
            </a:extLst>
          </p:cNvPr>
          <p:cNvSpPr txBox="1"/>
          <p:nvPr/>
        </p:nvSpPr>
        <p:spPr>
          <a:xfrm>
            <a:off x="10602630" y="5387437"/>
            <a:ext cx="1516015" cy="25387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Browser/Devic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05896833-F843-4227-902F-1FC1F976B229}"/>
              </a:ext>
            </a:extLst>
          </p:cNvPr>
          <p:cNvGrpSpPr/>
          <p:nvPr/>
        </p:nvGrpSpPr>
        <p:grpSpPr>
          <a:xfrm>
            <a:off x="10818474" y="4879638"/>
            <a:ext cx="669375" cy="526560"/>
            <a:chOff x="10725498" y="5087603"/>
            <a:chExt cx="498940" cy="424437"/>
          </a:xfrm>
        </p:grpSpPr>
        <p:sp>
          <p:nvSpPr>
            <p:cNvPr id="73" name="graph_2">
              <a:extLst>
                <a:ext uri="{FF2B5EF4-FFF2-40B4-BE49-F238E27FC236}">
                  <a16:creationId xmlns:a16="http://schemas.microsoft.com/office/drawing/2014/main" id="{37D02ADC-1749-4E4A-A3AC-187745E6E7B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D8364ADF-C3BE-4F4D-9BE3-D3436D3E3B39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75" name="Rectangle 9">
                <a:extLst>
                  <a:ext uri="{FF2B5EF4-FFF2-40B4-BE49-F238E27FC236}">
                    <a16:creationId xmlns:a16="http://schemas.microsoft.com/office/drawing/2014/main" id="{E17075C8-4FB3-44C6-B3F3-C4D79F0D6B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" name="Line 10">
                <a:extLst>
                  <a:ext uri="{FF2B5EF4-FFF2-40B4-BE49-F238E27FC236}">
                    <a16:creationId xmlns:a16="http://schemas.microsoft.com/office/drawing/2014/main" id="{9E4815A8-BB5B-4142-A7DD-2EAB0E6915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" name="Oval 11">
                <a:extLst>
                  <a:ext uri="{FF2B5EF4-FFF2-40B4-BE49-F238E27FC236}">
                    <a16:creationId xmlns:a16="http://schemas.microsoft.com/office/drawing/2014/main" id="{9EA22788-4CE4-427F-9D48-BA75D83BA7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" name="Oval 12">
                <a:extLst>
                  <a:ext uri="{FF2B5EF4-FFF2-40B4-BE49-F238E27FC236}">
                    <a16:creationId xmlns:a16="http://schemas.microsoft.com/office/drawing/2014/main" id="{2D3F8121-BF6F-4501-9161-6FAADB31E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" name="Oval 13">
                <a:extLst>
                  <a:ext uri="{FF2B5EF4-FFF2-40B4-BE49-F238E27FC236}">
                    <a16:creationId xmlns:a16="http://schemas.microsoft.com/office/drawing/2014/main" id="{6C58CA77-F595-4C9D-93BB-CA3E398CC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1D6A1725-95CF-4A8E-A877-93FC73849533}"/>
              </a:ext>
            </a:extLst>
          </p:cNvPr>
          <p:cNvGrpSpPr/>
          <p:nvPr/>
        </p:nvGrpSpPr>
        <p:grpSpPr>
          <a:xfrm>
            <a:off x="6916933" y="2510033"/>
            <a:ext cx="595274" cy="485668"/>
            <a:chOff x="5818113" y="2550840"/>
            <a:chExt cx="529278" cy="431824"/>
          </a:xfrm>
        </p:grpSpPr>
        <p:sp>
          <p:nvSpPr>
            <p:cNvPr id="81" name="Diamond 80">
              <a:extLst>
                <a:ext uri="{FF2B5EF4-FFF2-40B4-BE49-F238E27FC236}">
                  <a16:creationId xmlns:a16="http://schemas.microsoft.com/office/drawing/2014/main" id="{70E37336-7214-4FDD-ACE6-5DFAB4D8ACFB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5A580FB0-85B5-4481-B3CF-47896F04F80A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04401A94-2B95-4788-A3F9-5C6010700C84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FC45EA7-11FE-454D-BB8B-376CDA1CE5FB}"/>
              </a:ext>
            </a:extLst>
          </p:cNvPr>
          <p:cNvSpPr/>
          <p:nvPr/>
        </p:nvSpPr>
        <p:spPr bwMode="auto">
          <a:xfrm>
            <a:off x="861602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4404849-2604-463D-8192-3E4BD6AEE1DF}"/>
              </a:ext>
            </a:extLst>
          </p:cNvPr>
          <p:cNvSpPr/>
          <p:nvPr/>
        </p:nvSpPr>
        <p:spPr bwMode="auto">
          <a:xfrm>
            <a:off x="6608998" y="1759613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D68BDF6-CA54-4CAA-829E-B0A404874D92}"/>
              </a:ext>
            </a:extLst>
          </p:cNvPr>
          <p:cNvSpPr/>
          <p:nvPr/>
        </p:nvSpPr>
        <p:spPr bwMode="auto">
          <a:xfrm>
            <a:off x="4267843" y="1759613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E11F27E-562A-4641-8F70-0AFF53915489}"/>
              </a:ext>
            </a:extLst>
          </p:cNvPr>
          <p:cNvSpPr/>
          <p:nvPr/>
        </p:nvSpPr>
        <p:spPr bwMode="auto">
          <a:xfrm>
            <a:off x="2609300" y="1759613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811BF68E-FF3D-4C95-998C-25D2EADFC370}"/>
              </a:ext>
            </a:extLst>
          </p:cNvPr>
          <p:cNvCxnSpPr>
            <a:cxnSpLocks/>
            <a:stCxn id="14" idx="2"/>
          </p:cNvCxnSpPr>
          <p:nvPr/>
        </p:nvCxnSpPr>
        <p:spPr>
          <a:xfrm rot="16200000" flipH="1">
            <a:off x="7519240" y="3107134"/>
            <a:ext cx="989616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97732004-1A4C-4443-8298-8E71973144A3}"/>
              </a:ext>
            </a:extLst>
          </p:cNvPr>
          <p:cNvSpPr/>
          <p:nvPr/>
        </p:nvSpPr>
        <p:spPr bwMode="auto">
          <a:xfrm>
            <a:off x="10420291" y="1759613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83E8CD5A-4B0D-4E69-9FBB-8D2CA97C1735}"/>
              </a:ext>
            </a:extLst>
          </p:cNvPr>
          <p:cNvSpPr/>
          <p:nvPr/>
        </p:nvSpPr>
        <p:spPr bwMode="auto">
          <a:xfrm>
            <a:off x="8876002" y="4181263"/>
            <a:ext cx="1039148" cy="616657"/>
          </a:xfrm>
          <a:prstGeom prst="ellipse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C3D513F-7288-44F9-9294-3F4973BA45DD}"/>
              </a:ext>
            </a:extLst>
          </p:cNvPr>
          <p:cNvSpPr/>
          <p:nvPr/>
        </p:nvSpPr>
        <p:spPr>
          <a:xfrm>
            <a:off x="8875764" y="436266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DB</a:t>
            </a: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B9F6B9FF-73C3-4C67-A907-49C11078F9AF}"/>
              </a:ext>
            </a:extLst>
          </p:cNvPr>
          <p:cNvCxnSpPr>
            <a:cxnSpLocks/>
          </p:cNvCxnSpPr>
          <p:nvPr/>
        </p:nvCxnSpPr>
        <p:spPr>
          <a:xfrm>
            <a:off x="9364306" y="4843871"/>
            <a:ext cx="0" cy="30434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E3A241F0-21B9-47D7-A79F-A9E535EF3FC4}"/>
              </a:ext>
            </a:extLst>
          </p:cNvPr>
          <p:cNvSpPr/>
          <p:nvPr/>
        </p:nvSpPr>
        <p:spPr bwMode="auto">
          <a:xfrm>
            <a:off x="8988152" y="5187649"/>
            <a:ext cx="886854" cy="502982"/>
          </a:xfrm>
          <a:prstGeom prst="rect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2DAE59F-3BF7-4734-B94A-367F6C742DC4}"/>
              </a:ext>
            </a:extLst>
          </p:cNvPr>
          <p:cNvSpPr/>
          <p:nvPr/>
        </p:nvSpPr>
        <p:spPr>
          <a:xfrm>
            <a:off x="8908038" y="528527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aaS App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AB9145F5-7D05-4400-9F36-3F7C24769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136" y="3074760"/>
            <a:ext cx="1627773" cy="1347333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CE912937-96B4-4814-9B0F-2C9EDB8782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8152" y="3958971"/>
            <a:ext cx="795521" cy="41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79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3B91A-3179-407A-9D4D-722EAFFD2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3918">
              <a:defRPr/>
            </a:pPr>
            <a:r>
              <a:rPr lang="en-US" sz="3920" b="1">
                <a:solidFill>
                  <a:srgbClr val="0078D7"/>
                </a:solidFill>
                <a:latin typeface="Segoe UI Light (Headings)"/>
              </a:rPr>
              <a:t>Lift Existing SSIS + SQL Projects to Clou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576352-3AF1-42C7-9108-505FB4E52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244" y="5351849"/>
            <a:ext cx="1667115" cy="26288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F32B31-41B1-4723-B025-86D4AC15CE10}"/>
              </a:ext>
            </a:extLst>
          </p:cNvPr>
          <p:cNvCxnSpPr/>
          <p:nvPr/>
        </p:nvCxnSpPr>
        <p:spPr>
          <a:xfrm>
            <a:off x="281392" y="3999514"/>
            <a:ext cx="11590119" cy="67770"/>
          </a:xfrm>
          <a:prstGeom prst="line">
            <a:avLst/>
          </a:prstGeom>
          <a:ln w="12700">
            <a:solidFill>
              <a:schemeClr val="accent1">
                <a:shade val="95000"/>
                <a:satMod val="150000"/>
                <a:alpha val="30000"/>
              </a:schemeClr>
            </a:solidFill>
            <a:prstDash val="dash"/>
            <a:headEnd type="none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087FCFDC-33BF-4231-8900-2C67BBC49068}"/>
              </a:ext>
            </a:extLst>
          </p:cNvPr>
          <p:cNvGrpSpPr/>
          <p:nvPr/>
        </p:nvGrpSpPr>
        <p:grpSpPr>
          <a:xfrm>
            <a:off x="8864984" y="4919709"/>
            <a:ext cx="1380494" cy="926165"/>
            <a:chOff x="8864984" y="4919709"/>
            <a:chExt cx="1380494" cy="92616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EFB48F8-9B07-429D-859E-338B6AF0EC0F}"/>
                </a:ext>
              </a:extLst>
            </p:cNvPr>
            <p:cNvSpPr/>
            <p:nvPr/>
          </p:nvSpPr>
          <p:spPr>
            <a:xfrm>
              <a:off x="8864984" y="5539913"/>
              <a:ext cx="138049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SQL Server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69AA5C0-139D-4054-A44C-2F18CE9E0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223" y="4919709"/>
              <a:ext cx="647367" cy="69502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92895A3-5FC5-4AF1-958C-4FE72FBFC86D}"/>
              </a:ext>
            </a:extLst>
          </p:cNvPr>
          <p:cNvGrpSpPr/>
          <p:nvPr/>
        </p:nvGrpSpPr>
        <p:grpSpPr>
          <a:xfrm>
            <a:off x="1767929" y="4881489"/>
            <a:ext cx="2238009" cy="967746"/>
            <a:chOff x="2029191" y="5129863"/>
            <a:chExt cx="2238009" cy="96774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A052CE6-D39E-4BCC-85A6-FF22E391EE8E}"/>
                </a:ext>
              </a:extLst>
            </p:cNvPr>
            <p:cNvSpPr/>
            <p:nvPr/>
          </p:nvSpPr>
          <p:spPr>
            <a:xfrm>
              <a:off x="2029191" y="5791648"/>
              <a:ext cx="2238009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On-Premise data sources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49EA178-56F8-4E28-814A-5BB0B5C694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99959" y="5129863"/>
              <a:ext cx="817365" cy="679691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161237-E0AD-4851-9FB8-54D719B81283}"/>
              </a:ext>
            </a:extLst>
          </p:cNvPr>
          <p:cNvGrpSpPr/>
          <p:nvPr/>
        </p:nvGrpSpPr>
        <p:grpSpPr>
          <a:xfrm>
            <a:off x="2047678" y="2079124"/>
            <a:ext cx="1615904" cy="1148879"/>
            <a:chOff x="2125548" y="1857159"/>
            <a:chExt cx="1615904" cy="114887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E40BCA5-6171-49E9-8544-9FFE25AEFE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12363" y="1857159"/>
              <a:ext cx="904883" cy="921042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9BE89D8-B0B7-4711-8FDE-0A9A7840803D}"/>
                </a:ext>
              </a:extLst>
            </p:cNvPr>
            <p:cNvSpPr/>
            <p:nvPr/>
          </p:nvSpPr>
          <p:spPr>
            <a:xfrm>
              <a:off x="2125548" y="2700077"/>
              <a:ext cx="161590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Cloud data sources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7B45166-CD6E-4FDF-A4A3-331B4A138319}"/>
              </a:ext>
            </a:extLst>
          </p:cNvPr>
          <p:cNvSpPr/>
          <p:nvPr/>
        </p:nvSpPr>
        <p:spPr>
          <a:xfrm>
            <a:off x="118378" y="3717848"/>
            <a:ext cx="769852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36EC04-C6D9-401A-9D13-13BBD3DC92F5}"/>
              </a:ext>
            </a:extLst>
          </p:cNvPr>
          <p:cNvSpPr/>
          <p:nvPr/>
        </p:nvSpPr>
        <p:spPr>
          <a:xfrm>
            <a:off x="118378" y="3999514"/>
            <a:ext cx="1192231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-premis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6C95CD6-8914-49DA-94A0-085D0B2514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7393" y="5351849"/>
            <a:ext cx="1839111" cy="26288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8624B8D-975F-4D6D-98BB-E5D4A6189910}"/>
              </a:ext>
            </a:extLst>
          </p:cNvPr>
          <p:cNvGrpSpPr/>
          <p:nvPr/>
        </p:nvGrpSpPr>
        <p:grpSpPr>
          <a:xfrm>
            <a:off x="3796081" y="3268614"/>
            <a:ext cx="2077433" cy="2344870"/>
            <a:chOff x="3796081" y="3268614"/>
            <a:chExt cx="2077433" cy="234487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299BE50-96BB-4B3A-A568-7A59F9BBD119}"/>
                </a:ext>
              </a:extLst>
            </p:cNvPr>
            <p:cNvSpPr/>
            <p:nvPr/>
          </p:nvSpPr>
          <p:spPr>
            <a:xfrm>
              <a:off x="4178141" y="4318176"/>
              <a:ext cx="725996" cy="27155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VNET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CE0C34F-932C-469A-B8F6-F612AD499A92}"/>
                </a:ext>
              </a:extLst>
            </p:cNvPr>
            <p:cNvGrpSpPr/>
            <p:nvPr/>
          </p:nvGrpSpPr>
          <p:grpSpPr>
            <a:xfrm>
              <a:off x="3796081" y="3268614"/>
              <a:ext cx="2077433" cy="2344870"/>
              <a:chOff x="3796081" y="3268614"/>
              <a:chExt cx="2077433" cy="2344870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D9E48BF8-592C-418C-8000-F5E93AB193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01165" y="3703597"/>
                <a:ext cx="930843" cy="668922"/>
              </a:xfrm>
              <a:prstGeom prst="rect">
                <a:avLst/>
              </a:prstGeom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54C6F9F9-DBE0-4860-869D-6A6A1DEA34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96081" y="4523617"/>
                <a:ext cx="828598" cy="1089867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2C18B4C1-E9E5-4505-A0FE-2D553D24E6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79452" y="3268614"/>
                <a:ext cx="994062" cy="1042711"/>
              </a:xfrm>
              <a:prstGeom prst="rect">
                <a:avLst/>
              </a:prstGeom>
            </p:spPr>
          </p:pic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1462EE93-1AFD-415C-A129-89B84B27836F}"/>
              </a:ext>
            </a:extLst>
          </p:cNvPr>
          <p:cNvSpPr txBox="1"/>
          <p:nvPr/>
        </p:nvSpPr>
        <p:spPr>
          <a:xfrm>
            <a:off x="5444360" y="5183777"/>
            <a:ext cx="1982204" cy="8771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QL Server Integration Services (SSIS)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844936-6E44-4C3F-A522-6434FA54ABFD}"/>
              </a:ext>
            </a:extLst>
          </p:cNvPr>
          <p:cNvGrpSpPr/>
          <p:nvPr/>
        </p:nvGrpSpPr>
        <p:grpSpPr>
          <a:xfrm>
            <a:off x="3777243" y="2250630"/>
            <a:ext cx="6747678" cy="2440660"/>
            <a:chOff x="3777243" y="2250630"/>
            <a:chExt cx="6747678" cy="2440660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4FF578B-96D5-4938-884E-D81CD02B4501}"/>
                </a:ext>
              </a:extLst>
            </p:cNvPr>
            <p:cNvGrpSpPr/>
            <p:nvPr/>
          </p:nvGrpSpPr>
          <p:grpSpPr>
            <a:xfrm>
              <a:off x="8352997" y="2258851"/>
              <a:ext cx="2171924" cy="969151"/>
              <a:chOff x="8352997" y="2258851"/>
              <a:chExt cx="2171924" cy="969151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62D118B-252D-4DB2-80B6-3DEC16A469E0}"/>
                  </a:ext>
                </a:extLst>
              </p:cNvPr>
              <p:cNvSpPr/>
              <p:nvPr/>
            </p:nvSpPr>
            <p:spPr>
              <a:xfrm>
                <a:off x="8352997" y="2922041"/>
                <a:ext cx="2171924" cy="305961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SQL DB Managed Instance</a:t>
                </a: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E4F1F885-ECF8-41D5-B67F-FFDD697954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97742" y="2258851"/>
                <a:ext cx="731848" cy="721958"/>
              </a:xfrm>
              <a:prstGeom prst="rect">
                <a:avLst/>
              </a:prstGeom>
            </p:spPr>
          </p:pic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8B8A4EF-25FB-4E7C-83C0-D65579C09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7243" y="2547754"/>
              <a:ext cx="1667115" cy="26288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61B39D3-41A7-4760-AAE5-53CC096FD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7393" y="2514365"/>
              <a:ext cx="1679964" cy="262886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712D71A-3131-471C-A838-896F9B2F5C54}"/>
                </a:ext>
              </a:extLst>
            </p:cNvPr>
            <p:cNvGrpSpPr/>
            <p:nvPr/>
          </p:nvGrpSpPr>
          <p:grpSpPr>
            <a:xfrm>
              <a:off x="5286882" y="2250630"/>
              <a:ext cx="2222540" cy="983864"/>
              <a:chOff x="5102951" y="2250630"/>
              <a:chExt cx="2222540" cy="983864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7DAF879-D8CD-457A-8FD7-733AC97BC068}"/>
                  </a:ext>
                </a:extLst>
              </p:cNvPr>
              <p:cNvSpPr/>
              <p:nvPr/>
            </p:nvSpPr>
            <p:spPr>
              <a:xfrm>
                <a:off x="5102951" y="2926717"/>
                <a:ext cx="2222540" cy="3077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Azure Data Factory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7EB30429-A9CC-4C6E-B80E-6B866563BC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16037" y="2250630"/>
                <a:ext cx="688925" cy="679615"/>
              </a:xfrm>
              <a:prstGeom prst="rect">
                <a:avLst/>
              </a:prstGeom>
            </p:spPr>
          </p:pic>
        </p:grp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C13BA53-8ED4-4C3A-BAEF-F78D68C95D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99504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3325184-719F-489D-9758-17A2F38E69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47200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5617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A0392-90B2-43B0-9421-F28609BA8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2" y="2588769"/>
            <a:ext cx="5065486" cy="1680460"/>
          </a:xfrm>
        </p:spPr>
        <p:txBody>
          <a:bodyPr/>
          <a:lstStyle/>
          <a:p>
            <a:r>
              <a:rPr lang="en-US" sz="3600"/>
              <a:t>Demo:</a:t>
            </a:r>
            <a:br>
              <a:rPr lang="en-US" sz="3600"/>
            </a:br>
            <a:r>
              <a:rPr lang="en-US" sz="3600"/>
              <a:t>Impact analysis pipeline for airline IROP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85DD90-381C-427D-A9D8-F9A10AD82F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249785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/>
              <a:t>ADF Overview</a:t>
            </a:r>
          </a:p>
        </p:txBody>
      </p:sp>
    </p:spTree>
    <p:extLst>
      <p:ext uri="{BB962C8B-B14F-4D97-AF65-F5344CB8AC3E}">
        <p14:creationId xmlns:p14="http://schemas.microsoft.com/office/powerpoint/2010/main" val="368166402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10.xml><?xml version="1.0" encoding="utf-8"?>
<a:theme xmlns:a="http://schemas.openxmlformats.org/drawingml/2006/main" name="6_5-50173_Microsoft_Ready_Light_Template">
  <a:themeElements>
    <a:clrScheme name="Custom 3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0D1621-7EC8-4B51-A678-36097813A578}" vid="{BABC4CDB-E230-49BE-A9F6-33781B02F17C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1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14.xml><?xml version="1.0" encoding="utf-8"?>
<a:theme xmlns:a="http://schemas.openxmlformats.org/drawingml/2006/main" name="1_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15.xml><?xml version="1.0" encoding="utf-8"?>
<a:theme xmlns:a="http://schemas.openxmlformats.org/drawingml/2006/main" name="Azure PPT Template - 2018">
  <a:themeElements>
    <a:clrScheme name="Azure DevOps">
      <a:dk1>
        <a:srgbClr val="000000"/>
      </a:dk1>
      <a:lt1>
        <a:srgbClr val="FFFFFF"/>
      </a:lt1>
      <a:dk2>
        <a:srgbClr val="0078D7"/>
      </a:dk2>
      <a:lt2>
        <a:srgbClr val="FFFFFF"/>
      </a:lt2>
      <a:accent1>
        <a:srgbClr val="0078D7"/>
      </a:accent1>
      <a:accent2>
        <a:srgbClr val="4DB0FF"/>
      </a:accent2>
      <a:accent3>
        <a:srgbClr val="B1D6F2"/>
      </a:accent3>
      <a:accent4>
        <a:srgbClr val="035AA0"/>
      </a:accent4>
      <a:accent5>
        <a:srgbClr val="94D0FF"/>
      </a:accent5>
      <a:accent6>
        <a:srgbClr val="797979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PT Template 2018 presentation_v3" id="{1968021E-D85B-4A85-BB07-6BF24CCBC27F}" vid="{6E53F19A-D2E9-48F2-9B61-183D930FD7CB}"/>
    </a:ext>
  </a:extLst>
</a:theme>
</file>

<file path=ppt/theme/theme16.xml><?xml version="1.0" encoding="utf-8"?>
<a:theme xmlns:a="http://schemas.openxmlformats.org/drawingml/2006/main" name="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9FDDA1E9-4A00-4E2B-ADE5-26B570CDF824}"/>
    </a:ext>
  </a:extLst>
</a:theme>
</file>

<file path=ppt/theme/theme17.xml><?xml version="1.0" encoding="utf-8"?>
<a:theme xmlns:a="http://schemas.openxmlformats.org/drawingml/2006/main" name="2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0D197597-5802-4F59-9FB3-EEA4CE0331CD}"/>
    </a:ext>
  </a:extLst>
</a:theme>
</file>

<file path=ppt/theme/theme1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dern DW">
  <a:themeElements>
    <a:clrScheme name="Custom 21">
      <a:dk1>
        <a:srgbClr val="505050"/>
      </a:dk1>
      <a:lt1>
        <a:srgbClr val="FFFFFF"/>
      </a:lt1>
      <a:dk2>
        <a:srgbClr val="002050"/>
      </a:dk2>
      <a:lt2>
        <a:srgbClr val="70C7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70C7FF"/>
      </a:hlink>
      <a:folHlink>
        <a:srgbClr val="0078D7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4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5.xml><?xml version="1.0" encoding="utf-8"?>
<a:theme xmlns:a="http://schemas.openxmlformats.org/drawingml/2006/main" name="Microsoft Analytics &amp; Business Intelligence Partner Airlift">
  <a:themeElements>
    <a:clrScheme name="AA Airlift 2016">
      <a:dk1>
        <a:srgbClr val="505050"/>
      </a:dk1>
      <a:lt1>
        <a:srgbClr val="FFFFFF"/>
      </a:lt1>
      <a:dk2>
        <a:srgbClr val="0072C6"/>
      </a:dk2>
      <a:lt2>
        <a:srgbClr val="69C8CA"/>
      </a:lt2>
      <a:accent1>
        <a:srgbClr val="002050"/>
      </a:accent1>
      <a:accent2>
        <a:srgbClr val="B4009E"/>
      </a:accent2>
      <a:accent3>
        <a:srgbClr val="0072C6"/>
      </a:accent3>
      <a:accent4>
        <a:srgbClr val="008272"/>
      </a:accent4>
      <a:accent5>
        <a:srgbClr val="4668C5"/>
      </a:accent5>
      <a:accent6>
        <a:srgbClr val="68217A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 Analytics &amp; Business Intelligence Partner Airlift" id="{82F75C06-84D9-45DE-9414-AEC4320F6D88}" vid="{2FD723AC-42B4-484E-8C5D-EDFB37631561}"/>
    </a:ext>
  </a:extLst>
</a:theme>
</file>

<file path=ppt/theme/theme6.xml><?xml version="1.0" encoding="utf-8"?>
<a:theme xmlns:a="http://schemas.openxmlformats.org/drawingml/2006/main" name="1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7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8.xml><?xml version="1.0" encoding="utf-8"?>
<a:theme xmlns:a="http://schemas.openxmlformats.org/drawingml/2006/main" name="2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9.xml><?xml version="1.0" encoding="utf-8"?>
<a:theme xmlns:a="http://schemas.openxmlformats.org/drawingml/2006/main" name="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Breakout_Template.potx" id="{1A72F1D6-8E00-44B7-8612-A96C51648790}" vid="{FC63816D-7A82-403A-9DF6-29F1914C436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MediaServiceKeyPoints xmlns="c72baf73-1e2f-4845-a8f1-f9ebc7c339c2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F1845C9BD6AA4E98B3FD76F89FFB49" ma:contentTypeVersion="12" ma:contentTypeDescription="Create a new document." ma:contentTypeScope="" ma:versionID="de72735fdd972e3d1b14df5afc3e88a8">
  <xsd:schema xmlns:xsd="http://www.w3.org/2001/XMLSchema" xmlns:xs="http://www.w3.org/2001/XMLSchema" xmlns:p="http://schemas.microsoft.com/office/2006/metadata/properties" xmlns:ns1="http://schemas.microsoft.com/sharepoint/v3" xmlns:ns2="c72baf73-1e2f-4845-a8f1-f9ebc7c339c2" xmlns:ns3="7b7be56a-1c9f-4992-8379-7082ff57f887" targetNamespace="http://schemas.microsoft.com/office/2006/metadata/properties" ma:root="true" ma:fieldsID="4fdeade304d41ca2b65708be3e3c5ef2" ns1:_="" ns2:_="" ns3:_="">
    <xsd:import namespace="http://schemas.microsoft.com/sharepoint/v3"/>
    <xsd:import namespace="c72baf73-1e2f-4845-a8f1-f9ebc7c339c2"/>
    <xsd:import namespace="7b7be56a-1c9f-4992-8379-7082ff57f8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2baf73-1e2f-4845-a8f1-f9ebc7c339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7be56a-1c9f-4992-8379-7082ff57f88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AA666-8188-4C8C-8515-70D7ED4AE8C5}">
  <ds:schemaRefs>
    <ds:schemaRef ds:uri="http://purl.org/dc/dcmitype/"/>
    <ds:schemaRef ds:uri="http://purl.org/dc/terms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microsoft.com/sharepoint/v3"/>
    <ds:schemaRef ds:uri="http://purl.org/dc/elements/1.1/"/>
    <ds:schemaRef ds:uri="http://schemas.openxmlformats.org/package/2006/metadata/core-properties"/>
    <ds:schemaRef ds:uri="7b7be56a-1c9f-4992-8379-7082ff57f887"/>
    <ds:schemaRef ds:uri="c72baf73-1e2f-4845-a8f1-f9ebc7c339c2"/>
  </ds:schemaRefs>
</ds:datastoreItem>
</file>

<file path=customXml/itemProps2.xml><?xml version="1.0" encoding="utf-8"?>
<ds:datastoreItem xmlns:ds="http://schemas.openxmlformats.org/officeDocument/2006/customXml" ds:itemID="{102B5DD6-AF4C-4DD2-A422-E4EEE5EB64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72baf73-1e2f-4845-a8f1-f9ebc7c339c2"/>
    <ds:schemaRef ds:uri="7b7be56a-1c9f-4992-8379-7082ff57f8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2919DAB-C41F-4B36-BEA7-6F9F519B85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0</TotalTime>
  <Words>2121</Words>
  <Application>Microsoft Office PowerPoint</Application>
  <PresentationFormat>Widescreen</PresentationFormat>
  <Paragraphs>501</Paragraphs>
  <Slides>33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67" baseType="lpstr">
      <vt:lpstr>Avenir LT Pro 45 Book</vt:lpstr>
      <vt:lpstr>Quattrocento Sans</vt:lpstr>
      <vt:lpstr>Segoe Pro Semibold</vt:lpstr>
      <vt:lpstr>Segoe UI Light (Headings)</vt:lpstr>
      <vt:lpstr>Arial</vt:lpstr>
      <vt:lpstr>Calibri</vt:lpstr>
      <vt:lpstr>Calibri Light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5-50113_Microsoft_Ready_Light_Template</vt:lpstr>
      <vt:lpstr>Modern DW</vt:lpstr>
      <vt:lpstr>5-50109_Microsoft_Light_Template</vt:lpstr>
      <vt:lpstr>MGXFY15</vt:lpstr>
      <vt:lpstr>Microsoft Analytics &amp; Business Intelligence Partner Airlift</vt:lpstr>
      <vt:lpstr>1_5-50113_Microsoft_Ready_Light_Template</vt:lpstr>
      <vt:lpstr>5-30629_Build_Template_WHITE</vt:lpstr>
      <vt:lpstr>2_5-50113_Microsoft_Ready_Light_Template</vt:lpstr>
      <vt:lpstr>5-50195_Microsoft_Build_Template</vt:lpstr>
      <vt:lpstr>6_5-50173_Microsoft_Ready_Light_Template</vt:lpstr>
      <vt:lpstr>Office Theme</vt:lpstr>
      <vt:lpstr>1_5-50109_Microsoft_Light_Template</vt:lpstr>
      <vt:lpstr>1_5-30629_Build_Template_WHITE</vt:lpstr>
      <vt:lpstr>1_MGXFY15</vt:lpstr>
      <vt:lpstr>Azure PPT Template - 2018</vt:lpstr>
      <vt:lpstr>5-50201_Microsoft_Ready_Template</vt:lpstr>
      <vt:lpstr>2_5-50109_Microsoft_Light_Template</vt:lpstr>
      <vt:lpstr>1_Office Theme</vt:lpstr>
      <vt:lpstr>think-cell Slide</vt:lpstr>
      <vt:lpstr>PowerPoint Presentation</vt:lpstr>
      <vt:lpstr>Ingesting Data into Azure using Azure Data Factory</vt:lpstr>
      <vt:lpstr>Tell us what you think!</vt:lpstr>
      <vt:lpstr>Agenda</vt:lpstr>
      <vt:lpstr>PowerPoint Presentation</vt:lpstr>
      <vt:lpstr>PowerPoint Presentation</vt:lpstr>
      <vt:lpstr>Lift Existing SSIS + SQL Projects to Cloud</vt:lpstr>
      <vt:lpstr>Demo: Impact analysis pipeline for airline IROPS</vt:lpstr>
      <vt:lpstr>ADF Overview</vt:lpstr>
      <vt:lpstr>PowerPoint Presentation</vt:lpstr>
      <vt:lpstr>PowerPoint Presentation</vt:lpstr>
      <vt:lpstr>ADF Key Concepts</vt:lpstr>
      <vt:lpstr>PowerPoint Presentation</vt:lpstr>
      <vt:lpstr>PowerPoint Presentation</vt:lpstr>
      <vt:lpstr>Control Flow</vt:lpstr>
      <vt:lpstr>Loading Data using ADF</vt:lpstr>
      <vt:lpstr>Cloud-to-cloud Copy</vt:lpstr>
      <vt:lpstr>Hybrid Copy</vt:lpstr>
      <vt:lpstr>Advanced Performance Optimization</vt:lpstr>
      <vt:lpstr>Demo: Scaling ingestion perf</vt:lpstr>
      <vt:lpstr>Security</vt:lpstr>
      <vt:lpstr>PowerPoint Presentation</vt:lpstr>
      <vt:lpstr>PowerPoint Presentation</vt:lpstr>
      <vt:lpstr>Ingestion Patterns</vt:lpstr>
      <vt:lpstr>Demo: Incremental ingestion</vt:lpstr>
      <vt:lpstr>Authoring and CICD</vt:lpstr>
      <vt:lpstr>PowerPoint Presentation</vt:lpstr>
      <vt:lpstr>Data Ingestion using ADF</vt:lpstr>
      <vt:lpstr>PowerPoint Presentation</vt:lpstr>
      <vt:lpstr>Putting the “T” in “ETL”</vt:lpstr>
      <vt:lpstr>No-code Data Transformation At Scale</vt:lpstr>
      <vt:lpstr>Code-free Data Transformation At Scal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rley Wang (SQL)</dc:creator>
  <cp:lastModifiedBy>Shirley Wang (IM)</cp:lastModifiedBy>
  <cp:revision>1</cp:revision>
  <dcterms:created xsi:type="dcterms:W3CDTF">2017-12-08T05:38:57Z</dcterms:created>
  <dcterms:modified xsi:type="dcterms:W3CDTF">2019-02-04T18:1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shwang@microsoft.com</vt:lpwstr>
  </property>
  <property fmtid="{D5CDD505-2E9C-101B-9397-08002B2CF9AE}" pid="5" name="MSIP_Label_f42aa342-8706-4288-bd11-ebb85995028c_SetDate">
    <vt:lpwstr>2017-12-08T05:39:38.5877114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6AF1845C9BD6AA4E98B3FD76F89FFB49</vt:lpwstr>
  </property>
  <property fmtid="{D5CDD505-2E9C-101B-9397-08002B2CF9AE}" pid="11" name="Order">
    <vt:r8>48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</Properties>
</file>